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8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heme/theme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bookmarkIdSeed="4">
  <p:sldMasterIdLst>
    <p:sldMasterId id="2147484229" r:id="rId1"/>
    <p:sldMasterId id="2147484241" r:id="rId2"/>
    <p:sldMasterId id="2147484253" r:id="rId3"/>
    <p:sldMasterId id="2147484266" r:id="rId4"/>
    <p:sldMasterId id="2147484280" r:id="rId5"/>
    <p:sldMasterId id="2147484291" r:id="rId6"/>
    <p:sldMasterId id="2147484296" r:id="rId7"/>
    <p:sldMasterId id="2147484309" r:id="rId8"/>
  </p:sldMasterIdLst>
  <p:notesMasterIdLst>
    <p:notesMasterId r:id="rId17"/>
  </p:notesMasterIdLst>
  <p:sldIdLst>
    <p:sldId id="573" r:id="rId9"/>
    <p:sldId id="583" r:id="rId10"/>
    <p:sldId id="582" r:id="rId11"/>
    <p:sldId id="572" r:id="rId12"/>
    <p:sldId id="589" r:id="rId13"/>
    <p:sldId id="588" r:id="rId14"/>
    <p:sldId id="590" r:id="rId15"/>
    <p:sldId id="571" r:id="rId16"/>
  </p:sldIdLst>
  <p:sldSz cx="9144000" cy="6858000" type="screen4x3"/>
  <p:notesSz cx="6808788" cy="994092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rgbClr val="000000"/>
        </a:solidFill>
        <a:latin typeface="Arial" pitchFamily="34" charset="0"/>
        <a:ea typeface="+mn-ea"/>
        <a:cs typeface="+mn-cs"/>
        <a:sym typeface="Arial" pitchFamily="34" charset="0"/>
      </a:defRPr>
    </a:lvl1pPr>
    <a:lvl2pPr marL="457157" algn="l" rtl="0" fontAlgn="base">
      <a:spcBef>
        <a:spcPct val="0"/>
      </a:spcBef>
      <a:spcAft>
        <a:spcPct val="0"/>
      </a:spcAft>
      <a:defRPr sz="1600" kern="1200">
        <a:solidFill>
          <a:srgbClr val="000000"/>
        </a:solidFill>
        <a:latin typeface="Arial" pitchFamily="34" charset="0"/>
        <a:ea typeface="+mn-ea"/>
        <a:cs typeface="+mn-cs"/>
        <a:sym typeface="Arial" pitchFamily="34" charset="0"/>
      </a:defRPr>
    </a:lvl2pPr>
    <a:lvl3pPr marL="914314" algn="l" rtl="0" fontAlgn="base">
      <a:spcBef>
        <a:spcPct val="0"/>
      </a:spcBef>
      <a:spcAft>
        <a:spcPct val="0"/>
      </a:spcAft>
      <a:defRPr sz="1600" kern="1200">
        <a:solidFill>
          <a:srgbClr val="000000"/>
        </a:solidFill>
        <a:latin typeface="Arial" pitchFamily="34" charset="0"/>
        <a:ea typeface="+mn-ea"/>
        <a:cs typeface="+mn-cs"/>
        <a:sym typeface="Arial" pitchFamily="34" charset="0"/>
      </a:defRPr>
    </a:lvl3pPr>
    <a:lvl4pPr marL="1371471" algn="l" rtl="0" fontAlgn="base">
      <a:spcBef>
        <a:spcPct val="0"/>
      </a:spcBef>
      <a:spcAft>
        <a:spcPct val="0"/>
      </a:spcAft>
      <a:defRPr sz="1600" kern="1200">
        <a:solidFill>
          <a:srgbClr val="000000"/>
        </a:solidFill>
        <a:latin typeface="Arial" pitchFamily="34" charset="0"/>
        <a:ea typeface="+mn-ea"/>
        <a:cs typeface="+mn-cs"/>
        <a:sym typeface="Arial" pitchFamily="34" charset="0"/>
      </a:defRPr>
    </a:lvl4pPr>
    <a:lvl5pPr marL="1828626" algn="l" rtl="0" fontAlgn="base">
      <a:spcBef>
        <a:spcPct val="0"/>
      </a:spcBef>
      <a:spcAft>
        <a:spcPct val="0"/>
      </a:spcAft>
      <a:defRPr sz="1600" kern="1200">
        <a:solidFill>
          <a:srgbClr val="000000"/>
        </a:solidFill>
        <a:latin typeface="Arial" pitchFamily="34" charset="0"/>
        <a:ea typeface="+mn-ea"/>
        <a:cs typeface="+mn-cs"/>
        <a:sym typeface="Arial" pitchFamily="34" charset="0"/>
      </a:defRPr>
    </a:lvl5pPr>
    <a:lvl6pPr marL="2285786" algn="l" defTabSz="914314" rtl="0" eaLnBrk="1" latinLnBrk="0" hangingPunct="1">
      <a:defRPr sz="1600" kern="1200">
        <a:solidFill>
          <a:srgbClr val="000000"/>
        </a:solidFill>
        <a:latin typeface="Arial" pitchFamily="34" charset="0"/>
        <a:ea typeface="+mn-ea"/>
        <a:cs typeface="+mn-cs"/>
        <a:sym typeface="Arial" pitchFamily="34" charset="0"/>
      </a:defRPr>
    </a:lvl6pPr>
    <a:lvl7pPr marL="2742942" algn="l" defTabSz="914314" rtl="0" eaLnBrk="1" latinLnBrk="0" hangingPunct="1">
      <a:defRPr sz="1600" kern="1200">
        <a:solidFill>
          <a:srgbClr val="000000"/>
        </a:solidFill>
        <a:latin typeface="Arial" pitchFamily="34" charset="0"/>
        <a:ea typeface="+mn-ea"/>
        <a:cs typeface="+mn-cs"/>
        <a:sym typeface="Arial" pitchFamily="34" charset="0"/>
      </a:defRPr>
    </a:lvl7pPr>
    <a:lvl8pPr marL="3200099" algn="l" defTabSz="914314" rtl="0" eaLnBrk="1" latinLnBrk="0" hangingPunct="1">
      <a:defRPr sz="1600" kern="1200">
        <a:solidFill>
          <a:srgbClr val="000000"/>
        </a:solidFill>
        <a:latin typeface="Arial" pitchFamily="34" charset="0"/>
        <a:ea typeface="+mn-ea"/>
        <a:cs typeface="+mn-cs"/>
        <a:sym typeface="Arial" pitchFamily="34" charset="0"/>
      </a:defRPr>
    </a:lvl8pPr>
    <a:lvl9pPr marL="3657256" algn="l" defTabSz="914314" rtl="0" eaLnBrk="1" latinLnBrk="0" hangingPunct="1">
      <a:defRPr sz="1600" kern="1200">
        <a:solidFill>
          <a:srgbClr val="000000"/>
        </a:solidFill>
        <a:latin typeface="Arial" pitchFamily="34" charset="0"/>
        <a:ea typeface="+mn-ea"/>
        <a:cs typeface="+mn-cs"/>
        <a:sym typeface="Arial" pitchFamily="34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Яковченко Оксана Владимировна" initials="ЯОВ" lastIdx="1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1AF043"/>
    <a:srgbClr val="006600"/>
    <a:srgbClr val="FFFF99"/>
    <a:srgbClr val="D8FCC0"/>
    <a:srgbClr val="FF9933"/>
    <a:srgbClr val="E7F6EF"/>
    <a:srgbClr val="66FFFF"/>
    <a:srgbClr val="CCFF66"/>
    <a:srgbClr val="FEF2E8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241" autoAdjust="0"/>
    <p:restoredTop sz="97970" autoAdjust="0"/>
  </p:normalViewPr>
  <p:slideViewPr>
    <p:cSldViewPr>
      <p:cViewPr>
        <p:scale>
          <a:sx n="112" d="100"/>
          <a:sy n="112" d="100"/>
        </p:scale>
        <p:origin x="-1632" y="-19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10" Type="http://schemas.openxmlformats.org/officeDocument/2006/relationships/slide" Target="slides/slide2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0900" cy="49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020" tIns="44010" rIns="88020" bIns="44010" numCol="1" anchor="t" anchorCtr="0" compatLnSpc="1">
            <a:prstTxWarp prst="textNoShape">
              <a:avLst/>
            </a:prstTxWarp>
          </a:bodyPr>
          <a:lstStyle>
            <a:lvl1pPr defTabSz="880680">
              <a:defRPr sz="1100">
                <a:solidFill>
                  <a:schemeClr val="tx1"/>
                </a:solidFill>
                <a:latin typeface="Arial" charset="0"/>
                <a:sym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7890" y="0"/>
            <a:ext cx="2949305" cy="49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020" tIns="44010" rIns="88020" bIns="44010" numCol="1" anchor="t" anchorCtr="0" compatLnSpc="1">
            <a:prstTxWarp prst="textNoShape">
              <a:avLst/>
            </a:prstTxWarp>
          </a:bodyPr>
          <a:lstStyle>
            <a:lvl1pPr algn="r" defTabSz="880680">
              <a:defRPr sz="1100">
                <a:solidFill>
                  <a:schemeClr val="tx1"/>
                </a:solidFill>
                <a:latin typeface="Arial" charset="0"/>
                <a:sym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0" y="744538"/>
            <a:ext cx="4968875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244" y="4721943"/>
            <a:ext cx="5448306" cy="44718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020" tIns="44010" rIns="88020" bIns="4401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378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2288"/>
            <a:ext cx="2950900" cy="49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020" tIns="44010" rIns="88020" bIns="44010" numCol="1" anchor="b" anchorCtr="0" compatLnSpc="1">
            <a:prstTxWarp prst="textNoShape">
              <a:avLst/>
            </a:prstTxWarp>
          </a:bodyPr>
          <a:lstStyle>
            <a:lvl1pPr defTabSz="880680">
              <a:defRPr sz="1100">
                <a:solidFill>
                  <a:schemeClr val="tx1"/>
                </a:solidFill>
                <a:latin typeface="Arial" charset="0"/>
                <a:sym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78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7890" y="9442288"/>
            <a:ext cx="2949305" cy="49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020" tIns="44010" rIns="88020" bIns="44010" numCol="1" anchor="b" anchorCtr="0" compatLnSpc="1">
            <a:prstTxWarp prst="textNoShape">
              <a:avLst/>
            </a:prstTxWarp>
          </a:bodyPr>
          <a:lstStyle>
            <a:lvl1pPr algn="r" defTabSz="880680">
              <a:defRPr sz="1100">
                <a:solidFill>
                  <a:schemeClr val="tx1"/>
                </a:solidFill>
                <a:latin typeface="Arial" charset="0"/>
                <a:sym typeface="Arial" charset="0"/>
              </a:defRPr>
            </a:lvl1pPr>
          </a:lstStyle>
          <a:p>
            <a:pPr>
              <a:defRPr/>
            </a:pPr>
            <a:fld id="{4F649A72-7A4F-485F-9405-94D9A76B7C2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193002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157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314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471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626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5786" algn="l" defTabSz="9143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42" algn="l" defTabSz="9143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99" algn="l" defTabSz="9143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56" algn="l" defTabSz="9143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2.xml"/><Relationship Id="rId7" Type="http://schemas.openxmlformats.org/officeDocument/2006/relationships/oleObject" Target="../embeddings/oleObject5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8.png"/><Relationship Id="rId5" Type="http://schemas.openxmlformats.org/officeDocument/2006/relationships/tags" Target="../tags/tag14.xml"/><Relationship Id="rId10" Type="http://schemas.openxmlformats.org/officeDocument/2006/relationships/oleObject" Target="../embeddings/oleObject7.bin"/><Relationship Id="rId4" Type="http://schemas.openxmlformats.org/officeDocument/2006/relationships/tags" Target="../tags/tag13.xml"/><Relationship Id="rId9" Type="http://schemas.openxmlformats.org/officeDocument/2006/relationships/image" Target="../media/image7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16.xml"/><Relationship Id="rId7" Type="http://schemas.openxmlformats.org/officeDocument/2006/relationships/oleObject" Target="../embeddings/oleObject8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8.png"/><Relationship Id="rId5" Type="http://schemas.openxmlformats.org/officeDocument/2006/relationships/tags" Target="../tags/tag18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17.xml"/><Relationship Id="rId9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2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8.png"/><Relationship Id="rId5" Type="http://schemas.openxmlformats.org/officeDocument/2006/relationships/tags" Target="../tags/tag22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21.xml"/><Relationship Id="rId9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24.xml"/><Relationship Id="rId7" Type="http://schemas.openxmlformats.org/officeDocument/2006/relationships/oleObject" Target="../embeddings/oleObject14.bin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8.png"/><Relationship Id="rId5" Type="http://schemas.openxmlformats.org/officeDocument/2006/relationships/tags" Target="../tags/tag26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25.xml"/><Relationship Id="rId9" Type="http://schemas.openxmlformats.org/officeDocument/2006/relationships/image" Target="../media/image7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28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7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8.png"/><Relationship Id="rId5" Type="http://schemas.openxmlformats.org/officeDocument/2006/relationships/tags" Target="../tags/tag30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29.xml"/><Relationship Id="rId9" Type="http://schemas.openxmlformats.org/officeDocument/2006/relationships/image" Target="../media/image7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32.xml"/><Relationship Id="rId7" Type="http://schemas.openxmlformats.org/officeDocument/2006/relationships/oleObject" Target="../embeddings/oleObject20.bin"/><Relationship Id="rId2" Type="http://schemas.openxmlformats.org/officeDocument/2006/relationships/tags" Target="../tags/tag31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8.png"/><Relationship Id="rId5" Type="http://schemas.openxmlformats.org/officeDocument/2006/relationships/tags" Target="../tags/tag34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33.xml"/><Relationship Id="rId9" Type="http://schemas.openxmlformats.org/officeDocument/2006/relationships/image" Target="../media/image7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36.xml"/><Relationship Id="rId7" Type="http://schemas.openxmlformats.org/officeDocument/2006/relationships/oleObject" Target="../embeddings/oleObject23.bin"/><Relationship Id="rId2" Type="http://schemas.openxmlformats.org/officeDocument/2006/relationships/tags" Target="../tags/tag35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8.png"/><Relationship Id="rId5" Type="http://schemas.openxmlformats.org/officeDocument/2006/relationships/tags" Target="../tags/tag38.xml"/><Relationship Id="rId10" Type="http://schemas.openxmlformats.org/officeDocument/2006/relationships/oleObject" Target="../embeddings/oleObject25.bin"/><Relationship Id="rId4" Type="http://schemas.openxmlformats.org/officeDocument/2006/relationships/tags" Target="../tags/tag37.xml"/><Relationship Id="rId9" Type="http://schemas.openxmlformats.org/officeDocument/2006/relationships/image" Target="../media/image7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tags" Target="../tags/tag40.xml"/><Relationship Id="rId7" Type="http://schemas.openxmlformats.org/officeDocument/2006/relationships/oleObject" Target="../embeddings/oleObject26.bin"/><Relationship Id="rId2" Type="http://schemas.openxmlformats.org/officeDocument/2006/relationships/tags" Target="../tags/tag39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8.png"/><Relationship Id="rId5" Type="http://schemas.openxmlformats.org/officeDocument/2006/relationships/tags" Target="../tags/tag42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41.xml"/><Relationship Id="rId9" Type="http://schemas.openxmlformats.org/officeDocument/2006/relationships/image" Target="../media/image7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44.xml"/><Relationship Id="rId7" Type="http://schemas.openxmlformats.org/officeDocument/2006/relationships/oleObject" Target="../embeddings/oleObject29.bin"/><Relationship Id="rId2" Type="http://schemas.openxmlformats.org/officeDocument/2006/relationships/tags" Target="../tags/tag43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8.png"/><Relationship Id="rId5" Type="http://schemas.openxmlformats.org/officeDocument/2006/relationships/tags" Target="../tags/tag46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45.xml"/><Relationship Id="rId9" Type="http://schemas.openxmlformats.org/officeDocument/2006/relationships/image" Target="../media/image7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tags" Target="../tags/tag48.xml"/><Relationship Id="rId7" Type="http://schemas.openxmlformats.org/officeDocument/2006/relationships/oleObject" Target="../embeddings/oleObject32.bin"/><Relationship Id="rId2" Type="http://schemas.openxmlformats.org/officeDocument/2006/relationships/tags" Target="../tags/tag47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8.png"/><Relationship Id="rId5" Type="http://schemas.openxmlformats.org/officeDocument/2006/relationships/tags" Target="../tags/tag50.xml"/><Relationship Id="rId10" Type="http://schemas.openxmlformats.org/officeDocument/2006/relationships/oleObject" Target="../embeddings/oleObject34.bin"/><Relationship Id="rId4" Type="http://schemas.openxmlformats.org/officeDocument/2006/relationships/tags" Target="../tags/tag49.xml"/><Relationship Id="rId9" Type="http://schemas.openxmlformats.org/officeDocument/2006/relationships/image" Target="../media/image7.pn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.bin"/><Relationship Id="rId3" Type="http://schemas.openxmlformats.org/officeDocument/2006/relationships/tags" Target="../tags/tag52.xml"/><Relationship Id="rId7" Type="http://schemas.openxmlformats.org/officeDocument/2006/relationships/oleObject" Target="../embeddings/oleObject35.bin"/><Relationship Id="rId2" Type="http://schemas.openxmlformats.org/officeDocument/2006/relationships/tags" Target="../tags/tag51.xml"/><Relationship Id="rId1" Type="http://schemas.openxmlformats.org/officeDocument/2006/relationships/vmlDrawing" Target="../drawings/vmlDrawing13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8.png"/><Relationship Id="rId5" Type="http://schemas.openxmlformats.org/officeDocument/2006/relationships/tags" Target="../tags/tag54.xml"/><Relationship Id="rId10" Type="http://schemas.openxmlformats.org/officeDocument/2006/relationships/oleObject" Target="../embeddings/oleObject37.bin"/><Relationship Id="rId4" Type="http://schemas.openxmlformats.org/officeDocument/2006/relationships/tags" Target="../tags/tag53.xml"/><Relationship Id="rId9" Type="http://schemas.openxmlformats.org/officeDocument/2006/relationships/image" Target="../media/image7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9.bin"/><Relationship Id="rId3" Type="http://schemas.openxmlformats.org/officeDocument/2006/relationships/tags" Target="../tags/tag56.xml"/><Relationship Id="rId7" Type="http://schemas.openxmlformats.org/officeDocument/2006/relationships/oleObject" Target="../embeddings/oleObject38.bin"/><Relationship Id="rId2" Type="http://schemas.openxmlformats.org/officeDocument/2006/relationships/tags" Target="../tags/tag55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8.png"/><Relationship Id="rId5" Type="http://schemas.openxmlformats.org/officeDocument/2006/relationships/tags" Target="../tags/tag58.xml"/><Relationship Id="rId10" Type="http://schemas.openxmlformats.org/officeDocument/2006/relationships/oleObject" Target="../embeddings/oleObject40.bin"/><Relationship Id="rId4" Type="http://schemas.openxmlformats.org/officeDocument/2006/relationships/tags" Target="../tags/tag57.xml"/><Relationship Id="rId9" Type="http://schemas.openxmlformats.org/officeDocument/2006/relationships/image" Target="../media/image7.pn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pn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1.png"/><Relationship Id="rId4" Type="http://schemas.openxmlformats.org/officeDocument/2006/relationships/image" Target="../media/image11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1.png"/><Relationship Id="rId4" Type="http://schemas.openxmlformats.org/officeDocument/2006/relationships/image" Target="../media/image11.png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5.png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7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4.png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8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4.png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9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9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"/>
            <a:ext cx="9144000" cy="6874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28351" y="2729270"/>
            <a:ext cx="5036084" cy="482440"/>
          </a:xfrm>
        </p:spPr>
        <p:txBody>
          <a:bodyPr anchor="t"/>
          <a:lstStyle>
            <a:lvl1pPr>
              <a:defRPr sz="3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19986" y="5224118"/>
            <a:ext cx="1788304" cy="444284"/>
          </a:xfrm>
        </p:spPr>
        <p:txBody>
          <a:bodyPr>
            <a:sp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047097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E7B4E4-0E3A-4AB8-80A2-8B50CF25A55E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345722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5266103" y="379023"/>
            <a:ext cx="277768" cy="28588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488" y="379023"/>
            <a:ext cx="4989109" cy="28588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73B7DE-561C-48E6-8365-CC49DB72D9BC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93900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6614573"/>
            <a:ext cx="8445848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6376151"/>
            <a:ext cx="8445848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7" y="497111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445256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8" y="3772430"/>
            <a:ext cx="5036084" cy="222142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2191174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2" descr="C:\Users\LUKANI~1\AppData\Local\Temp\Rar$DI00.709\воздушны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689" y="1666959"/>
            <a:ext cx="3237987" cy="3755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1120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57" indent="0" algn="ctr">
              <a:buNone/>
              <a:defRPr/>
            </a:lvl2pPr>
            <a:lvl3pPr marL="914314" indent="0" algn="ctr">
              <a:buNone/>
              <a:defRPr/>
            </a:lvl3pPr>
            <a:lvl4pPr marL="1371471" indent="0" algn="ctr">
              <a:buNone/>
              <a:defRPr/>
            </a:lvl4pPr>
            <a:lvl5pPr marL="1828626" indent="0" algn="ctr">
              <a:buNone/>
              <a:defRPr/>
            </a:lvl5pPr>
            <a:lvl6pPr marL="2285786" indent="0" algn="ctr">
              <a:buNone/>
              <a:defRPr/>
            </a:lvl6pPr>
            <a:lvl7pPr marL="2742942" indent="0" algn="ctr">
              <a:buNone/>
              <a:defRPr/>
            </a:lvl7pPr>
            <a:lvl8pPr marL="3200099" indent="0" algn="ctr">
              <a:buNone/>
              <a:defRPr/>
            </a:lvl8pPr>
            <a:lvl9pPr marL="3657256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17460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9591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6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6" y="2906716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7" indent="0">
              <a:buNone/>
              <a:defRPr sz="1800"/>
            </a:lvl2pPr>
            <a:lvl3pPr marL="914314" indent="0">
              <a:buNone/>
              <a:defRPr sz="1600"/>
            </a:lvl3pPr>
            <a:lvl4pPr marL="1371471" indent="0">
              <a:buNone/>
              <a:defRPr sz="1400"/>
            </a:lvl4pPr>
            <a:lvl5pPr marL="1828626" indent="0">
              <a:buNone/>
              <a:defRPr sz="1400"/>
            </a:lvl5pPr>
            <a:lvl6pPr marL="2285786" indent="0">
              <a:buNone/>
              <a:defRPr sz="1400"/>
            </a:lvl6pPr>
            <a:lvl7pPr marL="2742942" indent="0">
              <a:buNone/>
              <a:defRPr sz="1400"/>
            </a:lvl7pPr>
            <a:lvl8pPr marL="3200099" indent="0">
              <a:buNone/>
              <a:defRPr sz="1400"/>
            </a:lvl8pPr>
            <a:lvl9pPr marL="3657256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954992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957266" y="1711328"/>
            <a:ext cx="3673475" cy="42894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83138" y="1711328"/>
            <a:ext cx="3675062" cy="42894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66003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7" indent="0">
              <a:buNone/>
              <a:defRPr sz="2000" b="1"/>
            </a:lvl2pPr>
            <a:lvl3pPr marL="914314" indent="0">
              <a:buNone/>
              <a:defRPr sz="1800" b="1"/>
            </a:lvl3pPr>
            <a:lvl4pPr marL="1371471" indent="0">
              <a:buNone/>
              <a:defRPr sz="1600" b="1"/>
            </a:lvl4pPr>
            <a:lvl5pPr marL="1828626" indent="0">
              <a:buNone/>
              <a:defRPr sz="1600" b="1"/>
            </a:lvl5pPr>
            <a:lvl6pPr marL="2285786" indent="0">
              <a:buNone/>
              <a:defRPr sz="1600" b="1"/>
            </a:lvl6pPr>
            <a:lvl7pPr marL="2742942" indent="0">
              <a:buNone/>
              <a:defRPr sz="1600" b="1"/>
            </a:lvl7pPr>
            <a:lvl8pPr marL="3200099" indent="0">
              <a:buNone/>
              <a:defRPr sz="1600" b="1"/>
            </a:lvl8pPr>
            <a:lvl9pPr marL="365725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7" indent="0">
              <a:buNone/>
              <a:defRPr sz="2000" b="1"/>
            </a:lvl2pPr>
            <a:lvl3pPr marL="914314" indent="0">
              <a:buNone/>
              <a:defRPr sz="1800" b="1"/>
            </a:lvl3pPr>
            <a:lvl4pPr marL="1371471" indent="0">
              <a:buNone/>
              <a:defRPr sz="1600" b="1"/>
            </a:lvl4pPr>
            <a:lvl5pPr marL="1828626" indent="0">
              <a:buNone/>
              <a:defRPr sz="1600" b="1"/>
            </a:lvl5pPr>
            <a:lvl6pPr marL="2285786" indent="0">
              <a:buNone/>
              <a:defRPr sz="1600" b="1"/>
            </a:lvl6pPr>
            <a:lvl7pPr marL="2742942" indent="0">
              <a:buNone/>
              <a:defRPr sz="1600" b="1"/>
            </a:lvl7pPr>
            <a:lvl8pPr marL="3200099" indent="0">
              <a:buNone/>
              <a:defRPr sz="1600" b="1"/>
            </a:lvl8pPr>
            <a:lvl9pPr marL="365725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28741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51320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E8D21E-531C-4A91-9D0B-B03631C54D2C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566130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12966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3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3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7" indent="0">
              <a:buNone/>
              <a:defRPr sz="1200"/>
            </a:lvl2pPr>
            <a:lvl3pPr marL="914314" indent="0">
              <a:buNone/>
              <a:defRPr sz="1000"/>
            </a:lvl3pPr>
            <a:lvl4pPr marL="1371471" indent="0">
              <a:buNone/>
              <a:defRPr sz="900"/>
            </a:lvl4pPr>
            <a:lvl5pPr marL="1828626" indent="0">
              <a:buNone/>
              <a:defRPr sz="900"/>
            </a:lvl5pPr>
            <a:lvl6pPr marL="2285786" indent="0">
              <a:buNone/>
              <a:defRPr sz="900"/>
            </a:lvl6pPr>
            <a:lvl7pPr marL="2742942" indent="0">
              <a:buNone/>
              <a:defRPr sz="900"/>
            </a:lvl7pPr>
            <a:lvl8pPr marL="3200099" indent="0">
              <a:buNone/>
              <a:defRPr sz="900"/>
            </a:lvl8pPr>
            <a:lvl9pPr marL="3657256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728715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91" y="4800603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91" y="612777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7" indent="0">
              <a:buNone/>
              <a:defRPr sz="2800"/>
            </a:lvl2pPr>
            <a:lvl3pPr marL="914314" indent="0">
              <a:buNone/>
              <a:defRPr sz="2400"/>
            </a:lvl3pPr>
            <a:lvl4pPr marL="1371471" indent="0">
              <a:buNone/>
              <a:defRPr sz="2000"/>
            </a:lvl4pPr>
            <a:lvl5pPr marL="1828626" indent="0">
              <a:buNone/>
              <a:defRPr sz="2000"/>
            </a:lvl5pPr>
            <a:lvl6pPr marL="2285786" indent="0">
              <a:buNone/>
              <a:defRPr sz="2000"/>
            </a:lvl6pPr>
            <a:lvl7pPr marL="2742942" indent="0">
              <a:buNone/>
              <a:defRPr sz="2000"/>
            </a:lvl7pPr>
            <a:lvl8pPr marL="3200099" indent="0">
              <a:buNone/>
              <a:defRPr sz="2000"/>
            </a:lvl8pPr>
            <a:lvl9pPr marL="3657256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91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7" indent="0">
              <a:buNone/>
              <a:defRPr sz="1200"/>
            </a:lvl2pPr>
            <a:lvl3pPr marL="914314" indent="0">
              <a:buNone/>
              <a:defRPr sz="1000"/>
            </a:lvl3pPr>
            <a:lvl4pPr marL="1371471" indent="0">
              <a:buNone/>
              <a:defRPr sz="900"/>
            </a:lvl4pPr>
            <a:lvl5pPr marL="1828626" indent="0">
              <a:buNone/>
              <a:defRPr sz="900"/>
            </a:lvl5pPr>
            <a:lvl6pPr marL="2285786" indent="0">
              <a:buNone/>
              <a:defRPr sz="900"/>
            </a:lvl6pPr>
            <a:lvl7pPr marL="2742942" indent="0">
              <a:buNone/>
              <a:defRPr sz="900"/>
            </a:lvl7pPr>
            <a:lvl8pPr marL="3200099" indent="0">
              <a:buNone/>
              <a:defRPr sz="900"/>
            </a:lvl8pPr>
            <a:lvl9pPr marL="3657256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982551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17797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366" y="393700"/>
            <a:ext cx="1874837" cy="56070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7263" y="393700"/>
            <a:ext cx="5473700" cy="56070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22157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6614573"/>
            <a:ext cx="8445848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6376151"/>
            <a:ext cx="8445848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7" y="497111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445256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8" y="3772430"/>
            <a:ext cx="5036084" cy="222142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2191174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2" descr="C:\Users\LUKANI~1\AppData\Local\Temp\Rar$DI00.709\воздушны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689" y="1666959"/>
            <a:ext cx="3237987" cy="3755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1120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8591" y="1055691"/>
            <a:ext cx="8332787" cy="5775325"/>
            <a:chOff x="81" y="665"/>
            <a:chExt cx="5249" cy="3638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15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4047"/>
              <a:ext cx="5249" cy="2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>
                <a:spcBef>
                  <a:spcPct val="20000"/>
                </a:spcBef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7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3" y="2747040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4291678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9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33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1"/>
          <p:cNvGraphicFramePr>
            <a:graphicFrameLocks noChangeAspect="1"/>
          </p:cNvGraphicFramePr>
          <p:nvPr/>
        </p:nvGraphicFramePr>
        <p:xfrm>
          <a:off x="0" y="838203"/>
          <a:ext cx="9144000" cy="7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34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838203"/>
                        <a:ext cx="9144000" cy="76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908053"/>
            <a:ext cx="9144000" cy="73025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1" tIns="45717" rIns="91431" bIns="45717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2" name="Object 24"/>
          <p:cNvGraphicFramePr>
            <a:graphicFrameLocks noChangeAspect="1"/>
          </p:cNvGraphicFramePr>
          <p:nvPr/>
        </p:nvGraphicFramePr>
        <p:xfrm>
          <a:off x="7185025" y="152400"/>
          <a:ext cx="1854200" cy="495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35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52400"/>
                        <a:ext cx="1854200" cy="4953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251761"/>
          </a:xfrm>
        </p:spPr>
        <p:txBody>
          <a:bodyPr/>
          <a:lstStyle>
            <a:lvl1pPr marL="0" indent="0" algn="ctr">
              <a:buNone/>
              <a:defRPr/>
            </a:lvl1pPr>
            <a:lvl2pPr marL="457157" indent="0" algn="ctr">
              <a:buNone/>
              <a:defRPr/>
            </a:lvl2pPr>
            <a:lvl3pPr marL="914314" indent="0" algn="ctr">
              <a:buNone/>
              <a:defRPr/>
            </a:lvl3pPr>
            <a:lvl4pPr marL="1371471" indent="0" algn="ctr">
              <a:buNone/>
              <a:defRPr/>
            </a:lvl4pPr>
            <a:lvl5pPr marL="1828626" indent="0" algn="ctr">
              <a:buNone/>
              <a:defRPr/>
            </a:lvl5pPr>
            <a:lvl6pPr marL="2285786" indent="0" algn="ctr">
              <a:buNone/>
              <a:defRPr/>
            </a:lvl6pPr>
            <a:lvl7pPr marL="2742942" indent="0" algn="ctr">
              <a:buNone/>
              <a:defRPr/>
            </a:lvl7pPr>
            <a:lvl8pPr marL="3200099" indent="0" algn="ctr">
              <a:buNone/>
              <a:defRPr/>
            </a:lvl8pPr>
            <a:lvl9pPr marL="3657256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1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E87246-BB9D-45A6-B338-F852B2D2F8A7}" type="datetime1">
              <a:rPr lang="ru-RU">
                <a:solidFill>
                  <a:srgbClr val="000000"/>
                </a:solidFill>
              </a:rPr>
              <a:pPr>
                <a:defRPr/>
              </a:pPr>
              <a:t>14.03.2018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2B2B2"/>
                </a:solidFill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A0D159FF-2297-4C1F-9A5E-0B033CF07BB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50840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8591" y="1055691"/>
            <a:ext cx="8332787" cy="5775325"/>
            <a:chOff x="81" y="665"/>
            <a:chExt cx="5249" cy="3638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15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4047"/>
              <a:ext cx="5249" cy="2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>
                <a:spcBef>
                  <a:spcPct val="20000"/>
                </a:spcBef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7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3" y="2747040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4291678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9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57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1"/>
          <p:cNvGraphicFramePr>
            <a:graphicFrameLocks noChangeAspect="1"/>
          </p:cNvGraphicFramePr>
          <p:nvPr/>
        </p:nvGraphicFramePr>
        <p:xfrm>
          <a:off x="0" y="838203"/>
          <a:ext cx="9144000" cy="7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58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838203"/>
                        <a:ext cx="9144000" cy="76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908053"/>
            <a:ext cx="9144000" cy="73025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1" tIns="45717" rIns="91431" bIns="45717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2" name="Object 24"/>
          <p:cNvGraphicFramePr>
            <a:graphicFrameLocks noChangeAspect="1"/>
          </p:cNvGraphicFramePr>
          <p:nvPr/>
        </p:nvGraphicFramePr>
        <p:xfrm>
          <a:off x="7185025" y="152400"/>
          <a:ext cx="1854200" cy="495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59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52400"/>
                        <a:ext cx="1854200" cy="4953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892311-8C37-4ABD-9B76-DF927A99D19A}" type="datetime1">
              <a:rPr lang="ru-RU">
                <a:solidFill>
                  <a:srgbClr val="000000"/>
                </a:solidFill>
              </a:rPr>
              <a:pPr>
                <a:defRPr/>
              </a:pPr>
              <a:t>14.03.2018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2B2B2"/>
                </a:solidFill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A91A6203-8353-4BDC-8B40-39E8DD9DBB2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80792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8591" y="1055691"/>
            <a:ext cx="8332787" cy="5775325"/>
            <a:chOff x="81" y="665"/>
            <a:chExt cx="5249" cy="3638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15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4047"/>
              <a:ext cx="5249" cy="2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>
                <a:spcBef>
                  <a:spcPct val="20000"/>
                </a:spcBef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7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3" y="2747040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4291678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9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81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1"/>
          <p:cNvGraphicFramePr>
            <a:graphicFrameLocks noChangeAspect="1"/>
          </p:cNvGraphicFramePr>
          <p:nvPr/>
        </p:nvGraphicFramePr>
        <p:xfrm>
          <a:off x="0" y="838203"/>
          <a:ext cx="9144000" cy="7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82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838203"/>
                        <a:ext cx="9144000" cy="76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908053"/>
            <a:ext cx="9144000" cy="73025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1" tIns="45717" rIns="91431" bIns="45717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2" name="Object 24"/>
          <p:cNvGraphicFramePr>
            <a:graphicFrameLocks noChangeAspect="1"/>
          </p:cNvGraphicFramePr>
          <p:nvPr/>
        </p:nvGraphicFramePr>
        <p:xfrm>
          <a:off x="7185025" y="152400"/>
          <a:ext cx="1854200" cy="495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83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52400"/>
                        <a:ext cx="1854200" cy="4953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6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6" y="4099123"/>
            <a:ext cx="77724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7" indent="0">
              <a:buNone/>
              <a:defRPr sz="1800"/>
            </a:lvl2pPr>
            <a:lvl3pPr marL="914314" indent="0">
              <a:buNone/>
              <a:defRPr sz="1600"/>
            </a:lvl3pPr>
            <a:lvl4pPr marL="1371471" indent="0">
              <a:buNone/>
              <a:defRPr sz="1400"/>
            </a:lvl4pPr>
            <a:lvl5pPr marL="1828626" indent="0">
              <a:buNone/>
              <a:defRPr sz="1400"/>
            </a:lvl5pPr>
            <a:lvl6pPr marL="2285786" indent="0">
              <a:buNone/>
              <a:defRPr sz="1400"/>
            </a:lvl6pPr>
            <a:lvl7pPr marL="2742942" indent="0">
              <a:buNone/>
              <a:defRPr sz="1400"/>
            </a:lvl7pPr>
            <a:lvl8pPr marL="3200099" indent="0">
              <a:buNone/>
              <a:defRPr sz="1400"/>
            </a:lvl8pPr>
            <a:lvl9pPr marL="3657256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2FA8F5-CD3A-4AB5-B748-BD0983227843}" type="datetime1">
              <a:rPr lang="ru-RU">
                <a:solidFill>
                  <a:srgbClr val="000000"/>
                </a:solidFill>
              </a:rPr>
              <a:pPr>
                <a:defRPr/>
              </a:pPr>
              <a:t>14.03.2018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2B2B2"/>
                </a:solidFill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A5F7898C-7389-4B7A-8C28-ABC569FBA01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87129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887" y="4407768"/>
            <a:ext cx="7771995" cy="619036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887" y="2907443"/>
            <a:ext cx="7771995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45636" indent="0">
              <a:buNone/>
              <a:defRPr sz="1800"/>
            </a:lvl2pPr>
            <a:lvl3pPr marL="891389" indent="0">
              <a:buNone/>
              <a:defRPr sz="1600"/>
            </a:lvl3pPr>
            <a:lvl4pPr marL="1337098" indent="0">
              <a:buNone/>
              <a:defRPr sz="1400"/>
            </a:lvl4pPr>
            <a:lvl5pPr marL="1782801" indent="0">
              <a:buNone/>
              <a:defRPr sz="1400"/>
            </a:lvl5pPr>
            <a:lvl6pPr marL="2228495" indent="0">
              <a:buNone/>
              <a:defRPr sz="1400"/>
            </a:lvl6pPr>
            <a:lvl7pPr marL="2674201" indent="0">
              <a:buNone/>
              <a:defRPr sz="1400"/>
            </a:lvl7pPr>
            <a:lvl8pPr marL="3119898" indent="0">
              <a:buNone/>
              <a:defRPr sz="1400"/>
            </a:lvl8pPr>
            <a:lvl9pPr marL="3565605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619981-FB53-4200-8910-3FCCF9EDC72D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705816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McK Slide Elements"/>
          <p:cNvGrpSpPr>
            <a:grpSpLocks/>
          </p:cNvGrpSpPr>
          <p:nvPr/>
        </p:nvGrpSpPr>
        <p:grpSpPr bwMode="auto">
          <a:xfrm>
            <a:off x="128591" y="1055691"/>
            <a:ext cx="8332787" cy="5775325"/>
            <a:chOff x="81" y="665"/>
            <a:chExt cx="5249" cy="3638"/>
          </a:xfrm>
        </p:grpSpPr>
        <p:sp>
          <p:nvSpPr>
            <p:cNvPr id="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15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4047"/>
              <a:ext cx="5249" cy="2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>
                <a:spcBef>
                  <a:spcPct val="20000"/>
                </a:spcBef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3" y="2747040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4291678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10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105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21"/>
          <p:cNvGraphicFramePr>
            <a:graphicFrameLocks noChangeAspect="1"/>
          </p:cNvGraphicFramePr>
          <p:nvPr/>
        </p:nvGraphicFramePr>
        <p:xfrm>
          <a:off x="0" y="838203"/>
          <a:ext cx="9144000" cy="7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106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838203"/>
                        <a:ext cx="9144000" cy="76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908053"/>
            <a:ext cx="9144000" cy="73025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1" tIns="45717" rIns="91431" bIns="45717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3" name="Object 24"/>
          <p:cNvGraphicFramePr>
            <a:graphicFrameLocks noChangeAspect="1"/>
          </p:cNvGraphicFramePr>
          <p:nvPr/>
        </p:nvGraphicFramePr>
        <p:xfrm>
          <a:off x="7185025" y="152400"/>
          <a:ext cx="1854200" cy="495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107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52400"/>
                        <a:ext cx="1854200" cy="4953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50839" y="1268413"/>
            <a:ext cx="4254500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7741" y="1268413"/>
            <a:ext cx="4256087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0C60F3-0185-4184-958C-2D12052A9A26}" type="datetime1">
              <a:rPr lang="ru-RU">
                <a:solidFill>
                  <a:srgbClr val="000000"/>
                </a:solidFill>
              </a:rPr>
              <a:pPr>
                <a:defRPr/>
              </a:pPr>
              <a:t>14.03.2018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6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2B2B2"/>
                </a:solidFill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43C2113D-BDD0-45E7-94EE-FF1A6B045B0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03151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McK Slide Elements"/>
          <p:cNvGrpSpPr>
            <a:grpSpLocks/>
          </p:cNvGrpSpPr>
          <p:nvPr/>
        </p:nvGrpSpPr>
        <p:grpSpPr bwMode="auto">
          <a:xfrm>
            <a:off x="128591" y="1055691"/>
            <a:ext cx="8332787" cy="5775325"/>
            <a:chOff x="81" y="665"/>
            <a:chExt cx="5249" cy="3638"/>
          </a:xfrm>
        </p:grpSpPr>
        <p:sp>
          <p:nvSpPr>
            <p:cNvPr id="8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15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9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4047"/>
              <a:ext cx="5249" cy="2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>
                <a:spcBef>
                  <a:spcPct val="20000"/>
                </a:spcBef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10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3" y="2747040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11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4291678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12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29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21"/>
          <p:cNvGraphicFramePr>
            <a:graphicFrameLocks noChangeAspect="1"/>
          </p:cNvGraphicFramePr>
          <p:nvPr/>
        </p:nvGraphicFramePr>
        <p:xfrm>
          <a:off x="0" y="838203"/>
          <a:ext cx="9144000" cy="7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30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838203"/>
                        <a:ext cx="9144000" cy="76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908053"/>
            <a:ext cx="9144000" cy="73025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1" tIns="45717" rIns="91431" bIns="45717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5" name="Object 24"/>
          <p:cNvGraphicFramePr>
            <a:graphicFrameLocks noChangeAspect="1"/>
          </p:cNvGraphicFramePr>
          <p:nvPr/>
        </p:nvGraphicFramePr>
        <p:xfrm>
          <a:off x="7185025" y="152400"/>
          <a:ext cx="1854200" cy="495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31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52400"/>
                        <a:ext cx="1854200" cy="4953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805543"/>
            <a:ext cx="4040188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7" indent="0">
              <a:buNone/>
              <a:defRPr sz="2000" b="1"/>
            </a:lvl2pPr>
            <a:lvl3pPr marL="914314" indent="0">
              <a:buNone/>
              <a:defRPr sz="1800" b="1"/>
            </a:lvl3pPr>
            <a:lvl4pPr marL="1371471" indent="0">
              <a:buNone/>
              <a:defRPr sz="1600" b="1"/>
            </a:lvl4pPr>
            <a:lvl5pPr marL="1828626" indent="0">
              <a:buNone/>
              <a:defRPr sz="1600" b="1"/>
            </a:lvl5pPr>
            <a:lvl6pPr marL="2285786" indent="0">
              <a:buNone/>
              <a:defRPr sz="1600" b="1"/>
            </a:lvl6pPr>
            <a:lvl7pPr marL="2742942" indent="0">
              <a:buNone/>
              <a:defRPr sz="1600" b="1"/>
            </a:lvl7pPr>
            <a:lvl8pPr marL="3200099" indent="0">
              <a:buNone/>
              <a:defRPr sz="1600" b="1"/>
            </a:lvl8pPr>
            <a:lvl9pPr marL="365725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8" y="1805543"/>
            <a:ext cx="404177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7" indent="0">
              <a:buNone/>
              <a:defRPr sz="2000" b="1"/>
            </a:lvl2pPr>
            <a:lvl3pPr marL="914314" indent="0">
              <a:buNone/>
              <a:defRPr sz="1800" b="1"/>
            </a:lvl3pPr>
            <a:lvl4pPr marL="1371471" indent="0">
              <a:buNone/>
              <a:defRPr sz="1600" b="1"/>
            </a:lvl4pPr>
            <a:lvl5pPr marL="1828626" indent="0">
              <a:buNone/>
              <a:defRPr sz="1600" b="1"/>
            </a:lvl5pPr>
            <a:lvl6pPr marL="2285786" indent="0">
              <a:buNone/>
              <a:defRPr sz="1600" b="1"/>
            </a:lvl6pPr>
            <a:lvl7pPr marL="2742942" indent="0">
              <a:buNone/>
              <a:defRPr sz="1600" b="1"/>
            </a:lvl7pPr>
            <a:lvl8pPr marL="3200099" indent="0">
              <a:buNone/>
              <a:defRPr sz="1600" b="1"/>
            </a:lvl8pPr>
            <a:lvl9pPr marL="365725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9DC32C-4BD5-4245-9077-944C7D300542}" type="datetime1">
              <a:rPr lang="ru-RU">
                <a:solidFill>
                  <a:srgbClr val="000000"/>
                </a:solidFill>
              </a:rPr>
              <a:pPr>
                <a:defRPr/>
              </a:pPr>
              <a:t>14.03.2018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7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8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2B2B2"/>
                </a:solidFill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C542C55A-2FDF-49DC-B195-DCE0162296F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83437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8591" y="1055691"/>
            <a:ext cx="8332787" cy="5775325"/>
            <a:chOff x="81" y="665"/>
            <a:chExt cx="5249" cy="3638"/>
          </a:xfrm>
        </p:grpSpPr>
        <p:sp>
          <p:nvSpPr>
            <p:cNvPr id="4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15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5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4047"/>
              <a:ext cx="5249" cy="2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>
                <a:spcBef>
                  <a:spcPct val="20000"/>
                </a:spcBef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6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3" y="2747040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4291678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8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53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21"/>
          <p:cNvGraphicFramePr>
            <a:graphicFrameLocks noChangeAspect="1"/>
          </p:cNvGraphicFramePr>
          <p:nvPr/>
        </p:nvGraphicFramePr>
        <p:xfrm>
          <a:off x="0" y="838203"/>
          <a:ext cx="9144000" cy="7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54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838203"/>
                        <a:ext cx="9144000" cy="76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908053"/>
            <a:ext cx="9144000" cy="73025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1" tIns="45717" rIns="91431" bIns="45717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1" name="Object 24"/>
          <p:cNvGraphicFramePr>
            <a:graphicFrameLocks noChangeAspect="1"/>
          </p:cNvGraphicFramePr>
          <p:nvPr/>
        </p:nvGraphicFramePr>
        <p:xfrm>
          <a:off x="7185025" y="152400"/>
          <a:ext cx="1854200" cy="495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55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52400"/>
                        <a:ext cx="1854200" cy="4953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2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BED0F3-3D25-4771-AB93-DDDBF4E1569A}" type="datetime1">
              <a:rPr lang="ru-RU">
                <a:solidFill>
                  <a:srgbClr val="000000"/>
                </a:solidFill>
              </a:rPr>
              <a:pPr>
                <a:defRPr/>
              </a:pPr>
              <a:t>14.03.2018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3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4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2B2B2"/>
                </a:solidFill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544720AB-49BB-4F5F-851D-AD44BE0B586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18198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Slide Elements"/>
          <p:cNvGrpSpPr>
            <a:grpSpLocks/>
          </p:cNvGrpSpPr>
          <p:nvPr/>
        </p:nvGrpSpPr>
        <p:grpSpPr bwMode="auto">
          <a:xfrm>
            <a:off x="128591" y="1055691"/>
            <a:ext cx="8332787" cy="5775325"/>
            <a:chOff x="81" y="665"/>
            <a:chExt cx="5249" cy="3638"/>
          </a:xfrm>
        </p:grpSpPr>
        <p:sp>
          <p:nvSpPr>
            <p:cNvPr id="3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15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4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4047"/>
              <a:ext cx="5249" cy="2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>
                <a:spcBef>
                  <a:spcPct val="20000"/>
                </a:spcBef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5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3" y="2747040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4291678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7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77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Object 21"/>
          <p:cNvGraphicFramePr>
            <a:graphicFrameLocks noChangeAspect="1"/>
          </p:cNvGraphicFramePr>
          <p:nvPr/>
        </p:nvGraphicFramePr>
        <p:xfrm>
          <a:off x="0" y="838203"/>
          <a:ext cx="9144000" cy="7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78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838203"/>
                        <a:ext cx="9144000" cy="76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908053"/>
            <a:ext cx="9144000" cy="73025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1" tIns="45717" rIns="91431" bIns="45717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0" name="Object 24"/>
          <p:cNvGraphicFramePr>
            <a:graphicFrameLocks noChangeAspect="1"/>
          </p:cNvGraphicFramePr>
          <p:nvPr/>
        </p:nvGraphicFramePr>
        <p:xfrm>
          <a:off x="7185025" y="152400"/>
          <a:ext cx="1854200" cy="495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79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52400"/>
                        <a:ext cx="1854200" cy="4953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2E0247-DD95-4551-9185-790DF05DD02F}" type="datetime1">
              <a:rPr lang="ru-RU">
                <a:solidFill>
                  <a:srgbClr val="000000"/>
                </a:solidFill>
              </a:rPr>
              <a:pPr>
                <a:defRPr/>
              </a:pPr>
              <a:t>14.03.2018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2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2B2B2"/>
                </a:solidFill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03F1374A-6777-4713-B1D2-148B838E11F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56865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McK Slide Elements"/>
          <p:cNvGrpSpPr>
            <a:grpSpLocks/>
          </p:cNvGrpSpPr>
          <p:nvPr/>
        </p:nvGrpSpPr>
        <p:grpSpPr bwMode="auto">
          <a:xfrm>
            <a:off x="128591" y="1055691"/>
            <a:ext cx="8332787" cy="5775325"/>
            <a:chOff x="81" y="665"/>
            <a:chExt cx="5249" cy="3638"/>
          </a:xfrm>
        </p:grpSpPr>
        <p:sp>
          <p:nvSpPr>
            <p:cNvPr id="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15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4047"/>
              <a:ext cx="5249" cy="2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>
                <a:spcBef>
                  <a:spcPct val="20000"/>
                </a:spcBef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3" y="2747040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4291678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10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01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21"/>
          <p:cNvGraphicFramePr>
            <a:graphicFrameLocks noChangeAspect="1"/>
          </p:cNvGraphicFramePr>
          <p:nvPr/>
        </p:nvGraphicFramePr>
        <p:xfrm>
          <a:off x="0" y="838203"/>
          <a:ext cx="9144000" cy="7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02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838203"/>
                        <a:ext cx="9144000" cy="76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908053"/>
            <a:ext cx="9144000" cy="73025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1" tIns="45717" rIns="91431" bIns="45717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3" name="Object 24"/>
          <p:cNvGraphicFramePr>
            <a:graphicFrameLocks noChangeAspect="1"/>
          </p:cNvGraphicFramePr>
          <p:nvPr/>
        </p:nvGraphicFramePr>
        <p:xfrm>
          <a:off x="7185025" y="152400"/>
          <a:ext cx="1854200" cy="495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03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52400"/>
                        <a:ext cx="1854200" cy="4953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3" y="273053"/>
            <a:ext cx="51117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3" y="1435100"/>
            <a:ext cx="3008313" cy="222142"/>
          </a:xfrm>
        </p:spPr>
        <p:txBody>
          <a:bodyPr/>
          <a:lstStyle>
            <a:lvl1pPr marL="0" indent="0">
              <a:buNone/>
              <a:defRPr sz="1400"/>
            </a:lvl1pPr>
            <a:lvl2pPr marL="457157" indent="0">
              <a:buNone/>
              <a:defRPr sz="1200"/>
            </a:lvl2pPr>
            <a:lvl3pPr marL="914314" indent="0">
              <a:buNone/>
              <a:defRPr sz="1000"/>
            </a:lvl3pPr>
            <a:lvl4pPr marL="1371471" indent="0">
              <a:buNone/>
              <a:defRPr sz="900"/>
            </a:lvl4pPr>
            <a:lvl5pPr marL="1828626" indent="0">
              <a:buNone/>
              <a:defRPr sz="900"/>
            </a:lvl5pPr>
            <a:lvl6pPr marL="2285786" indent="0">
              <a:buNone/>
              <a:defRPr sz="900"/>
            </a:lvl6pPr>
            <a:lvl7pPr marL="2742942" indent="0">
              <a:buNone/>
              <a:defRPr sz="900"/>
            </a:lvl7pPr>
            <a:lvl8pPr marL="3200099" indent="0">
              <a:buNone/>
              <a:defRPr sz="900"/>
            </a:lvl8pPr>
            <a:lvl9pPr marL="3657256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387744-B15C-4436-9FC5-DA6BE5CB6BBD}" type="datetime1">
              <a:rPr lang="ru-RU">
                <a:solidFill>
                  <a:srgbClr val="000000"/>
                </a:solidFill>
              </a:rPr>
              <a:pPr>
                <a:defRPr/>
              </a:pPr>
              <a:t>14.03.2018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6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2B2B2"/>
                </a:solidFill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5EDA3038-0E36-412F-B3B6-060B6E6C880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54569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McK Slide Elements"/>
          <p:cNvGrpSpPr>
            <a:grpSpLocks/>
          </p:cNvGrpSpPr>
          <p:nvPr/>
        </p:nvGrpSpPr>
        <p:grpSpPr bwMode="auto">
          <a:xfrm>
            <a:off x="128591" y="1055691"/>
            <a:ext cx="8332787" cy="5775325"/>
            <a:chOff x="81" y="665"/>
            <a:chExt cx="5249" cy="3638"/>
          </a:xfrm>
        </p:grpSpPr>
        <p:sp>
          <p:nvSpPr>
            <p:cNvPr id="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15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4047"/>
              <a:ext cx="5249" cy="2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>
                <a:spcBef>
                  <a:spcPct val="20000"/>
                </a:spcBef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8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3" y="2747040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4291678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10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25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21"/>
          <p:cNvGraphicFramePr>
            <a:graphicFrameLocks noChangeAspect="1"/>
          </p:cNvGraphicFramePr>
          <p:nvPr/>
        </p:nvGraphicFramePr>
        <p:xfrm>
          <a:off x="0" y="838203"/>
          <a:ext cx="9144000" cy="7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26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838203"/>
                        <a:ext cx="9144000" cy="76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908053"/>
            <a:ext cx="9144000" cy="73025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1" tIns="45717" rIns="91431" bIns="45717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3" name="Object 24"/>
          <p:cNvGraphicFramePr>
            <a:graphicFrameLocks noChangeAspect="1"/>
          </p:cNvGraphicFramePr>
          <p:nvPr/>
        </p:nvGraphicFramePr>
        <p:xfrm>
          <a:off x="7185025" y="152400"/>
          <a:ext cx="1854200" cy="495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27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52400"/>
                        <a:ext cx="1854200" cy="4953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91" y="4800603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91" y="612775"/>
            <a:ext cx="548640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157" indent="0">
              <a:buNone/>
              <a:defRPr sz="2800"/>
            </a:lvl2pPr>
            <a:lvl3pPr marL="914314" indent="0">
              <a:buNone/>
              <a:defRPr sz="2400"/>
            </a:lvl3pPr>
            <a:lvl4pPr marL="1371471" indent="0">
              <a:buNone/>
              <a:defRPr sz="2000"/>
            </a:lvl4pPr>
            <a:lvl5pPr marL="1828626" indent="0">
              <a:buNone/>
              <a:defRPr sz="2000"/>
            </a:lvl5pPr>
            <a:lvl6pPr marL="2285786" indent="0">
              <a:buNone/>
              <a:defRPr sz="2000"/>
            </a:lvl6pPr>
            <a:lvl7pPr marL="2742942" indent="0">
              <a:buNone/>
              <a:defRPr sz="2000"/>
            </a:lvl7pPr>
            <a:lvl8pPr marL="3200099" indent="0">
              <a:buNone/>
              <a:defRPr sz="2000"/>
            </a:lvl8pPr>
            <a:lvl9pPr marL="3657256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91" y="5367337"/>
            <a:ext cx="5486400" cy="222142"/>
          </a:xfrm>
        </p:spPr>
        <p:txBody>
          <a:bodyPr/>
          <a:lstStyle>
            <a:lvl1pPr marL="0" indent="0">
              <a:buNone/>
              <a:defRPr sz="1400"/>
            </a:lvl1pPr>
            <a:lvl2pPr marL="457157" indent="0">
              <a:buNone/>
              <a:defRPr sz="1200"/>
            </a:lvl2pPr>
            <a:lvl3pPr marL="914314" indent="0">
              <a:buNone/>
              <a:defRPr sz="1000"/>
            </a:lvl3pPr>
            <a:lvl4pPr marL="1371471" indent="0">
              <a:buNone/>
              <a:defRPr sz="900"/>
            </a:lvl4pPr>
            <a:lvl5pPr marL="1828626" indent="0">
              <a:buNone/>
              <a:defRPr sz="900"/>
            </a:lvl5pPr>
            <a:lvl6pPr marL="2285786" indent="0">
              <a:buNone/>
              <a:defRPr sz="900"/>
            </a:lvl6pPr>
            <a:lvl7pPr marL="2742942" indent="0">
              <a:buNone/>
              <a:defRPr sz="900"/>
            </a:lvl7pPr>
            <a:lvl8pPr marL="3200099" indent="0">
              <a:buNone/>
              <a:defRPr sz="900"/>
            </a:lvl8pPr>
            <a:lvl9pPr marL="3657256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9270F7-82D9-4FFC-881E-141B3DC50FB7}" type="datetime1">
              <a:rPr lang="ru-RU">
                <a:solidFill>
                  <a:srgbClr val="000000"/>
                </a:solidFill>
              </a:rPr>
              <a:pPr>
                <a:defRPr/>
              </a:pPr>
              <a:t>14.03.2018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5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6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2B2B2"/>
                </a:solidFill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8938E48C-2295-42F4-9E5A-6A9F0253C3E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76667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8591" y="1055691"/>
            <a:ext cx="8332787" cy="5775325"/>
            <a:chOff x="81" y="665"/>
            <a:chExt cx="5249" cy="3638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15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4047"/>
              <a:ext cx="5249" cy="2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>
                <a:spcBef>
                  <a:spcPct val="20000"/>
                </a:spcBef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7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3" y="2747040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4291678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9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49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1"/>
          <p:cNvGraphicFramePr>
            <a:graphicFrameLocks noChangeAspect="1"/>
          </p:cNvGraphicFramePr>
          <p:nvPr/>
        </p:nvGraphicFramePr>
        <p:xfrm>
          <a:off x="0" y="838203"/>
          <a:ext cx="9144000" cy="7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50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838203"/>
                        <a:ext cx="9144000" cy="76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908053"/>
            <a:ext cx="9144000" cy="73025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1" tIns="45717" rIns="91431" bIns="45717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2" name="Object 24"/>
          <p:cNvGraphicFramePr>
            <a:graphicFrameLocks noChangeAspect="1"/>
          </p:cNvGraphicFramePr>
          <p:nvPr/>
        </p:nvGraphicFramePr>
        <p:xfrm>
          <a:off x="7185025" y="152400"/>
          <a:ext cx="1854200" cy="495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51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52400"/>
                        <a:ext cx="1854200" cy="4953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59172" y="1268413"/>
            <a:ext cx="2954655" cy="125880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BD50BC-D0CD-47F6-A86A-051F7E41AEF1}" type="datetime1">
              <a:rPr lang="ru-RU">
                <a:solidFill>
                  <a:srgbClr val="000000"/>
                </a:solidFill>
              </a:rPr>
              <a:pPr>
                <a:defRPr/>
              </a:pPr>
              <a:t>14.03.2018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2B2B2"/>
                </a:solidFill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91DA92BF-D784-4B45-A839-7743BDADE5D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1442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Slide Elements"/>
          <p:cNvGrpSpPr>
            <a:grpSpLocks/>
          </p:cNvGrpSpPr>
          <p:nvPr/>
        </p:nvGrpSpPr>
        <p:grpSpPr bwMode="auto">
          <a:xfrm>
            <a:off x="128591" y="1055691"/>
            <a:ext cx="8332787" cy="5775325"/>
            <a:chOff x="81" y="665"/>
            <a:chExt cx="5249" cy="3638"/>
          </a:xfrm>
        </p:grpSpPr>
        <p:sp>
          <p:nvSpPr>
            <p:cNvPr id="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15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4047"/>
              <a:ext cx="5249" cy="2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>
                <a:spcBef>
                  <a:spcPct val="20000"/>
                </a:spcBef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7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3" y="2747040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4291678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9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73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21"/>
          <p:cNvGraphicFramePr>
            <a:graphicFrameLocks noChangeAspect="1"/>
          </p:cNvGraphicFramePr>
          <p:nvPr/>
        </p:nvGraphicFramePr>
        <p:xfrm>
          <a:off x="0" y="838203"/>
          <a:ext cx="9144000" cy="7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74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838203"/>
                        <a:ext cx="9144000" cy="76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908053"/>
            <a:ext cx="9144000" cy="73025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1" tIns="45717" rIns="91431" bIns="45717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2" name="Object 24"/>
          <p:cNvGraphicFramePr>
            <a:graphicFrameLocks noChangeAspect="1"/>
          </p:cNvGraphicFramePr>
          <p:nvPr/>
        </p:nvGraphicFramePr>
        <p:xfrm>
          <a:off x="7185025" y="152400"/>
          <a:ext cx="1854200" cy="495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75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52400"/>
                        <a:ext cx="1854200" cy="4953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48475" y="3"/>
            <a:ext cx="2165350" cy="24907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464969" y="3"/>
            <a:ext cx="1231106" cy="249078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C22893-2B11-4405-BE03-4ADC813EB50F}" type="datetime1">
              <a:rPr lang="ru-RU">
                <a:solidFill>
                  <a:srgbClr val="000000"/>
                </a:solidFill>
              </a:rPr>
              <a:pPr>
                <a:defRPr/>
              </a:pPr>
              <a:t>14.03.2018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B2B2B2"/>
                </a:solidFill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9D2BDB1E-5EBF-4B48-BEDB-3C61AC12A9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98575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McK Slide Elements"/>
          <p:cNvGrpSpPr>
            <a:grpSpLocks/>
          </p:cNvGrpSpPr>
          <p:nvPr/>
        </p:nvGrpSpPr>
        <p:grpSpPr bwMode="auto">
          <a:xfrm>
            <a:off x="128591" y="1055691"/>
            <a:ext cx="8332787" cy="5775325"/>
            <a:chOff x="81" y="665"/>
            <a:chExt cx="5249" cy="3638"/>
          </a:xfrm>
        </p:grpSpPr>
        <p:sp>
          <p:nvSpPr>
            <p:cNvPr id="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15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4047"/>
              <a:ext cx="5249" cy="2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>
                <a:spcBef>
                  <a:spcPct val="20000"/>
                </a:spcBef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9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209333" y="2747040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10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586037" y="4291678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11" name="Rectangle 12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97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ct 21"/>
          <p:cNvGraphicFramePr>
            <a:graphicFrameLocks noChangeAspect="1"/>
          </p:cNvGraphicFramePr>
          <p:nvPr/>
        </p:nvGraphicFramePr>
        <p:xfrm>
          <a:off x="0" y="838203"/>
          <a:ext cx="9144000" cy="7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98" name="Фотография Photo Editor" r:id="rId8" imgW="14270442" imgH="142933" progId="MSPhotoEd.3">
                  <p:embed/>
                </p:oleObj>
              </mc:Choice>
              <mc:Fallback>
                <p:oleObj name="Фотография Photo Editor" r:id="rId8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838203"/>
                        <a:ext cx="9144000" cy="76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908053"/>
            <a:ext cx="9144000" cy="73025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1" tIns="45717" rIns="91431" bIns="45717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4" name="Object 24"/>
          <p:cNvGraphicFramePr>
            <a:graphicFrameLocks noChangeAspect="1"/>
          </p:cNvGraphicFramePr>
          <p:nvPr/>
        </p:nvGraphicFramePr>
        <p:xfrm>
          <a:off x="7185025" y="152400"/>
          <a:ext cx="1854200" cy="495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99" name="Фотография Photo Editor" r:id="rId10" imgW="4172532" imgH="1114581" progId="MSPhotoEd.3">
                  <p:embed/>
                </p:oleObj>
              </mc:Choice>
              <mc:Fallback>
                <p:oleObj name="Фотография Photo Editor" r:id="rId10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52400"/>
                        <a:ext cx="1854200" cy="4953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125880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199"/>
            <a:ext cx="4038600" cy="125880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91"/>
            <a:ext cx="4038600" cy="125880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DA023B-9169-4C7A-AA3C-9BB5C9738F87}" type="datetime1">
              <a:rPr lang="ru-RU">
                <a:solidFill>
                  <a:srgbClr val="000000"/>
                </a:solidFill>
              </a:rPr>
              <a:pPr>
                <a:defRPr/>
              </a:pPr>
              <a:t>14.03.2018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CEDCA6-1A89-4321-A363-104233ABFC9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572814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6614573"/>
            <a:ext cx="8445848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6376151"/>
            <a:ext cx="8445848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7" y="497111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445256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82180" y="1990670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754804" y="1990670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5A68B8-904A-490B-B590-A2244EA8F474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1609911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8" y="3772430"/>
            <a:ext cx="5036084" cy="222142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2191174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2" descr="C:\Users\LUKANI~1\AppData\Local\Temp\Rar$DI00.709\воздушны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689" y="1666959"/>
            <a:ext cx="3237987" cy="3755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1120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349865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379"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5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379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05" y="508602"/>
            <a:ext cx="28533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379"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1.06.2013 11:21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04" y="668964"/>
            <a:ext cx="25327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379"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0.06.2013 11:52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8" y="7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32379"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32379"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40"/>
              <a:ext cx="3226" cy="2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0604" eaLnBrk="0" hangingPunct="0"/>
              <a:r>
                <a:rPr lang="ru-RU" sz="800" dirty="0" smtClean="0">
                  <a:latin typeface="Arial"/>
                </a:rPr>
                <a:t>КОНФИДЕНЦИАЛЬНАЯ ИНФОРМАЦИЯ, СОБСТВЕННОСТЬ McKINSEY &amp; COMPANY</a:t>
              </a:r>
            </a:p>
            <a:p>
              <a:pPr defTabSz="820604" eaLnBrk="0" hangingPunct="0"/>
              <a:r>
                <a:rPr lang="ru-RU" sz="800" dirty="0" smtClean="0">
                  <a:latin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00" dirty="0">
                <a:latin typeface="Arial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379"/>
              <a:endParaRPr lang="ru-RU" dirty="0">
                <a:latin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379"/>
              <a:endParaRPr lang="ru-RU" dirty="0">
                <a:latin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379"/>
              <a:endParaRPr lang="ru-RU" dirty="0">
                <a:latin typeface="Arial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6" y="6574553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70602" y="2132253"/>
            <a:ext cx="6259287" cy="507831"/>
          </a:xfrm>
          <a:prstGeom prst="rect">
            <a:avLst/>
          </a:prstGeom>
        </p:spPr>
        <p:txBody>
          <a:bodyPr anchor="ctr" anchorCtr="0"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-1611" y="835204"/>
            <a:ext cx="9145619" cy="46648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27" tIns="46614" rIns="93227" bIns="46614" rtlCol="0" anchor="ctr"/>
          <a:lstStyle/>
          <a:p>
            <a:pPr algn="ctr" defTabSz="932379"/>
            <a:endParaRPr lang="ru-RU" dirty="0" smtClean="0">
              <a:solidFill>
                <a:srgbClr val="000000"/>
              </a:solidFill>
            </a:endParaRPr>
          </a:p>
        </p:txBody>
      </p:sp>
      <p:pic>
        <p:nvPicPr>
          <p:cNvPr id="36" name="Picture 7" descr="Screen Shot 2013-12-24 at 12.16.45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4903" y="169399"/>
            <a:ext cx="1985020" cy="637214"/>
          </a:xfrm>
          <a:prstGeom prst="rect">
            <a:avLst/>
          </a:prstGeom>
        </p:spPr>
      </p:pic>
      <p:grpSp>
        <p:nvGrpSpPr>
          <p:cNvPr id="2" name="Группа 1"/>
          <p:cNvGrpSpPr/>
          <p:nvPr userDrawn="1"/>
        </p:nvGrpSpPr>
        <p:grpSpPr>
          <a:xfrm>
            <a:off x="-9152" y="4884415"/>
            <a:ext cx="9175002" cy="2156737"/>
            <a:chOff x="-8976" y="4787170"/>
            <a:chExt cx="8991821" cy="2113802"/>
          </a:xfrm>
        </p:grpSpPr>
        <p:pic>
          <p:nvPicPr>
            <p:cNvPr id="43" name="Picture 2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19" r="801"/>
            <a:stretch/>
          </p:blipFill>
          <p:spPr bwMode="auto">
            <a:xfrm>
              <a:off x="-1" y="4787170"/>
              <a:ext cx="8961439" cy="1841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4" name="Группа 43"/>
            <p:cNvGrpSpPr/>
            <p:nvPr userDrawn="1"/>
          </p:nvGrpSpPr>
          <p:grpSpPr>
            <a:xfrm>
              <a:off x="-8976" y="5750183"/>
              <a:ext cx="8991821" cy="1150789"/>
              <a:chOff x="-8976" y="5750183"/>
              <a:chExt cx="8991821" cy="1150789"/>
            </a:xfrm>
          </p:grpSpPr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 rot="21401812">
                <a:off x="3021" y="6317320"/>
                <a:ext cx="5333974" cy="583652"/>
              </a:xfrm>
              <a:custGeom>
                <a:avLst/>
                <a:gdLst/>
                <a:ahLst/>
                <a:cxnLst/>
                <a:rect l="l" t="t" r="r" b="b"/>
                <a:pathLst>
                  <a:path w="5333974" h="583652">
                    <a:moveTo>
                      <a:pt x="5276645" y="572390"/>
                    </a:moveTo>
                    <a:cubicBezTo>
                      <a:pt x="5295731" y="576282"/>
                      <a:pt x="5314854" y="579973"/>
                      <a:pt x="5333974" y="583652"/>
                    </a:cubicBezTo>
                    <a:lnTo>
                      <a:pt x="5276180" y="580462"/>
                    </a:lnTo>
                    <a:close/>
                    <a:moveTo>
                      <a:pt x="2002421" y="7710"/>
                    </a:moveTo>
                    <a:cubicBezTo>
                      <a:pt x="2746081" y="41292"/>
                      <a:pt x="3941635" y="311324"/>
                      <a:pt x="5151013" y="547708"/>
                    </a:cubicBezTo>
                    <a:lnTo>
                      <a:pt x="3682725" y="462967"/>
                    </a:lnTo>
                    <a:lnTo>
                      <a:pt x="3682598" y="465178"/>
                    </a:lnTo>
                    <a:cubicBezTo>
                      <a:pt x="2972445" y="364324"/>
                      <a:pt x="2335517" y="281380"/>
                      <a:pt x="1880469" y="260831"/>
                    </a:cubicBezTo>
                    <a:cubicBezTo>
                      <a:pt x="1585660" y="247519"/>
                      <a:pt x="1283245" y="266577"/>
                      <a:pt x="989675" y="307538"/>
                    </a:cubicBezTo>
                    <a:lnTo>
                      <a:pt x="0" y="250419"/>
                    </a:lnTo>
                    <a:lnTo>
                      <a:pt x="4858" y="169923"/>
                    </a:lnTo>
                    <a:cubicBezTo>
                      <a:pt x="543116" y="59278"/>
                      <a:pt x="1231841" y="-26781"/>
                      <a:pt x="2002421" y="7710"/>
                    </a:cubicBezTo>
                    <a:close/>
                  </a:path>
                </a:pathLst>
              </a:custGeom>
              <a:solidFill>
                <a:srgbClr val="A7D0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32379"/>
                <a:endParaRPr lang="ru-RU" dirty="0">
                  <a:latin typeface="Arial"/>
                </a:endParaRPr>
              </a:p>
            </p:txBody>
          </p:sp>
          <p:grpSp>
            <p:nvGrpSpPr>
              <p:cNvPr id="46" name="Группа 45"/>
              <p:cNvGrpSpPr/>
              <p:nvPr/>
            </p:nvGrpSpPr>
            <p:grpSpPr>
              <a:xfrm>
                <a:off x="-8976" y="5750183"/>
                <a:ext cx="8991821" cy="1095217"/>
                <a:chOff x="-8976" y="5750183"/>
                <a:chExt cx="8991821" cy="1095217"/>
              </a:xfrm>
            </p:grpSpPr>
            <p:sp>
              <p:nvSpPr>
                <p:cNvPr id="47" name="Freeform 8"/>
                <p:cNvSpPr>
                  <a:spLocks/>
                </p:cNvSpPr>
                <p:nvPr/>
              </p:nvSpPr>
              <p:spPr bwMode="auto">
                <a:xfrm rot="21401812">
                  <a:off x="8766" y="5750183"/>
                  <a:ext cx="8974079" cy="9975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4079" h="997596">
                      <a:moveTo>
                        <a:pt x="8974079" y="256658"/>
                      </a:moveTo>
                      <a:lnTo>
                        <a:pt x="8969227" y="340728"/>
                      </a:lnTo>
                      <a:cubicBezTo>
                        <a:pt x="8564536" y="640458"/>
                        <a:pt x="7878802" y="997596"/>
                        <a:pt x="6912361" y="997596"/>
                      </a:cubicBezTo>
                      <a:cubicBezTo>
                        <a:pt x="5249207" y="997596"/>
                        <a:pt x="3171705" y="95150"/>
                        <a:pt x="1612138" y="95151"/>
                      </a:cubicBezTo>
                      <a:cubicBezTo>
                        <a:pt x="878567" y="95151"/>
                        <a:pt x="351898" y="189883"/>
                        <a:pt x="0" y="290901"/>
                      </a:cubicBezTo>
                      <a:lnTo>
                        <a:pt x="5097" y="206451"/>
                      </a:lnTo>
                      <a:cubicBezTo>
                        <a:pt x="356949" y="99692"/>
                        <a:pt x="882082" y="-1"/>
                        <a:pt x="1612138" y="0"/>
                      </a:cubicBezTo>
                      <a:cubicBezTo>
                        <a:pt x="3168828" y="0"/>
                        <a:pt x="5249207" y="961914"/>
                        <a:pt x="6912361" y="961913"/>
                      </a:cubicBezTo>
                      <a:cubicBezTo>
                        <a:pt x="7883088" y="961913"/>
                        <a:pt x="8570523" y="577496"/>
                        <a:pt x="8974079" y="256658"/>
                      </a:cubicBezTo>
                      <a:close/>
                    </a:path>
                  </a:pathLst>
                </a:custGeom>
                <a:solidFill>
                  <a:srgbClr val="CBDB2A"/>
                </a:solidFill>
                <a:ln w="12700">
                  <a:solidFill>
                    <a:srgbClr val="CBDB2A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379"/>
                  <a:endParaRPr lang="ru-RU" dirty="0">
                    <a:latin typeface="Arial"/>
                  </a:endParaRPr>
                </a:p>
              </p:txBody>
            </p:sp>
            <p:sp>
              <p:nvSpPr>
                <p:cNvPr id="48" name="Freeform 9"/>
                <p:cNvSpPr>
                  <a:spLocks/>
                </p:cNvSpPr>
                <p:nvPr/>
              </p:nvSpPr>
              <p:spPr bwMode="auto">
                <a:xfrm rot="21401812">
                  <a:off x="-8976" y="5845921"/>
                  <a:ext cx="8991280" cy="9561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6656" h="956109">
                      <a:moveTo>
                        <a:pt x="8976656" y="245543"/>
                      </a:moveTo>
                      <a:lnTo>
                        <a:pt x="8968839" y="380995"/>
                      </a:lnTo>
                      <a:cubicBezTo>
                        <a:pt x="8560462" y="647681"/>
                        <a:pt x="7881915" y="956109"/>
                        <a:pt x="6935009" y="956109"/>
                      </a:cubicBezTo>
                      <a:cubicBezTo>
                        <a:pt x="5268979" y="956109"/>
                        <a:pt x="3185721" y="144234"/>
                        <a:pt x="1623278" y="144234"/>
                      </a:cubicBezTo>
                      <a:cubicBezTo>
                        <a:pt x="882318" y="144234"/>
                        <a:pt x="352320" y="230846"/>
                        <a:pt x="0" y="322515"/>
                      </a:cubicBezTo>
                      <a:lnTo>
                        <a:pt x="7638" y="195957"/>
                      </a:lnTo>
                      <a:cubicBezTo>
                        <a:pt x="359537" y="94859"/>
                        <a:pt x="886396" y="0"/>
                        <a:pt x="1620399" y="0"/>
                      </a:cubicBezTo>
                      <a:cubicBezTo>
                        <a:pt x="3177089" y="0"/>
                        <a:pt x="5257469" y="902579"/>
                        <a:pt x="6920623" y="902579"/>
                      </a:cubicBezTo>
                      <a:cubicBezTo>
                        <a:pt x="7886613" y="902579"/>
                        <a:pt x="8572070" y="545423"/>
                        <a:pt x="8976656" y="245543"/>
                      </a:cubicBezTo>
                      <a:close/>
                    </a:path>
                  </a:pathLst>
                </a:custGeom>
                <a:solidFill>
                  <a:srgbClr val="6D9D3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379"/>
                  <a:endParaRPr lang="ru-RU" dirty="0">
                    <a:latin typeface="Arial"/>
                  </a:endParaRPr>
                </a:p>
              </p:txBody>
            </p:sp>
            <p:sp>
              <p:nvSpPr>
                <p:cNvPr id="49" name="Freeform 10"/>
                <p:cNvSpPr>
                  <a:spLocks/>
                </p:cNvSpPr>
                <p:nvPr/>
              </p:nvSpPr>
              <p:spPr bwMode="auto">
                <a:xfrm rot="21401812">
                  <a:off x="5052" y="5990568"/>
                  <a:ext cx="8964051" cy="854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5335" h="854832">
                      <a:moveTo>
                        <a:pt x="8975335" y="228107"/>
                      </a:moveTo>
                      <a:lnTo>
                        <a:pt x="8968669" y="343617"/>
                      </a:lnTo>
                      <a:cubicBezTo>
                        <a:pt x="8565323" y="579247"/>
                        <a:pt x="7907768" y="846431"/>
                        <a:pt x="6996356" y="854832"/>
                      </a:cubicBezTo>
                      <a:lnTo>
                        <a:pt x="6771421" y="842418"/>
                      </a:lnTo>
                      <a:lnTo>
                        <a:pt x="6160628" y="808709"/>
                      </a:lnTo>
                      <a:cubicBezTo>
                        <a:pt x="4658324" y="648621"/>
                        <a:pt x="2957691" y="118920"/>
                        <a:pt x="1633308" y="118921"/>
                      </a:cubicBezTo>
                      <a:cubicBezTo>
                        <a:pt x="885697" y="118921"/>
                        <a:pt x="352711" y="198599"/>
                        <a:pt x="0" y="282365"/>
                      </a:cubicBezTo>
                      <a:lnTo>
                        <a:pt x="6280" y="178326"/>
                      </a:lnTo>
                      <a:cubicBezTo>
                        <a:pt x="358237" y="86650"/>
                        <a:pt x="887657" y="1"/>
                        <a:pt x="1627553" y="0"/>
                      </a:cubicBezTo>
                      <a:cubicBezTo>
                        <a:pt x="3187184" y="1"/>
                        <a:pt x="5267650" y="811631"/>
                        <a:pt x="6930874" y="811631"/>
                      </a:cubicBezTo>
                      <a:cubicBezTo>
                        <a:pt x="7887631" y="811631"/>
                        <a:pt x="8569204" y="496328"/>
                        <a:pt x="8975335" y="228107"/>
                      </a:cubicBezTo>
                      <a:close/>
                    </a:path>
                  </a:pathLst>
                </a:custGeom>
                <a:solidFill>
                  <a:srgbClr val="8DC63F"/>
                </a:solidFill>
                <a:ln w="19050">
                  <a:solidFill>
                    <a:srgbClr val="8DC63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32379"/>
                  <a:endParaRPr lang="ru-RU" dirty="0">
                    <a:latin typeface="Arial"/>
                  </a:endParaRPr>
                </a:p>
              </p:txBody>
            </p:sp>
          </p:grpSp>
        </p:grpSp>
      </p:grp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70602" y="3698331"/>
            <a:ext cx="5909557" cy="251222"/>
          </a:xfrm>
        </p:spPr>
        <p:txBody>
          <a:bodyPr wrap="square">
            <a:spAutoFit/>
          </a:bodyPr>
          <a:lstStyle>
            <a:lvl1pPr>
              <a:defRPr sz="16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448791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9" y="3772430"/>
            <a:ext cx="5036084" cy="222142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2191175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2" descr="C:\Users\LUKANI~1\AppData\Local\Temp\Rar$DI05.591\Деревце-с-облачками_don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" y="1634984"/>
            <a:ext cx="3523021" cy="3491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8593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9" y="3772430"/>
            <a:ext cx="5036084" cy="222142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2191175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-238274" y="1457322"/>
            <a:ext cx="3672718" cy="4386576"/>
            <a:chOff x="-273711" y="1428309"/>
            <a:chExt cx="3682622" cy="4398665"/>
          </a:xfrm>
        </p:grpSpPr>
        <p:pic>
          <p:nvPicPr>
            <p:cNvPr id="8" name="Picture 2" descr="C:\Users\Lukanina-AN\AppData\Local\Microsoft\Windows\Temporary Internet Files\Low\Content.IE5\U9HPN9CK\WEareTEAM[1]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4435296">
              <a:off x="1464937" y="1092742"/>
              <a:ext cx="1608407" cy="2279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C:\Users\LUKANI~1\AppData\Local\Temp\Rar$DI00.669\ImLeader_don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7674329">
              <a:off x="82787" y="1695408"/>
              <a:ext cx="1266509" cy="1979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3" descr="C:\Users\LUKANI~1\AppData\Local\Temp\Rar$DI03.218\все-для-клиента_done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353251">
              <a:off x="472355" y="2831967"/>
              <a:ext cx="2499145" cy="2995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26698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9" y="3772430"/>
            <a:ext cx="5036084" cy="222142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2191175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LUKANI~1\AppData\Local\Temp\Rar$DI00.709\воздушны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689" y="1666959"/>
            <a:ext cx="3237987" cy="3755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9515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9" y="3772430"/>
            <a:ext cx="5036084" cy="222142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2191175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2" descr="C:\Users\LUKANI~1\AppData\Local\Temp\Rar$DI07.270\деревце-с-солнышком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6864" y="1445596"/>
            <a:ext cx="4147114" cy="4384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718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9" y="3772430"/>
            <a:ext cx="5036084" cy="222142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2191175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LUKANI~1\AppData\Local\Temp\Rar$DI09.235\земно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713" y="2064785"/>
            <a:ext cx="3327963" cy="3051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7701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er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7" y="6271892"/>
            <a:ext cx="594677" cy="582843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source"/>
          <p:cNvSpPr>
            <a:spLocks noGrp="1"/>
          </p:cNvSpPr>
          <p:nvPr>
            <p:ph type="body" sz="quarter" idx="11" hasCustomPrompt="1"/>
          </p:nvPr>
        </p:nvSpPr>
        <p:spPr>
          <a:xfrm>
            <a:off x="640363" y="6614573"/>
            <a:ext cx="7926979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21" name="footnote"/>
          <p:cNvSpPr>
            <a:spLocks noGrp="1"/>
          </p:cNvSpPr>
          <p:nvPr>
            <p:ph type="body" sz="quarter" idx="12" hasCustomPrompt="1"/>
          </p:nvPr>
        </p:nvSpPr>
        <p:spPr>
          <a:xfrm>
            <a:off x="640363" y="6379274"/>
            <a:ext cx="7926979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8" y="497112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951832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n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34" y="6274313"/>
            <a:ext cx="638310" cy="574269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40363" y="6379274"/>
            <a:ext cx="7926979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40363" y="6614573"/>
            <a:ext cx="7926979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8" y="497112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94246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ves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2" y="6360570"/>
            <a:ext cx="451939" cy="502715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40363" y="6379274"/>
            <a:ext cx="7926979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6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40363" y="6614573"/>
            <a:ext cx="7926979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8" y="497112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845864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1139509"/>
            <a:ext cx="8230410" cy="27776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816" y="1535541"/>
            <a:ext cx="403988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5636" indent="0">
              <a:buNone/>
              <a:defRPr sz="2000" b="1"/>
            </a:lvl2pPr>
            <a:lvl3pPr marL="891389" indent="0">
              <a:buNone/>
              <a:defRPr sz="1800" b="1"/>
            </a:lvl3pPr>
            <a:lvl4pPr marL="1337098" indent="0">
              <a:buNone/>
              <a:defRPr sz="1600" b="1"/>
            </a:lvl4pPr>
            <a:lvl5pPr marL="1782801" indent="0">
              <a:buNone/>
              <a:defRPr sz="1600" b="1"/>
            </a:lvl5pPr>
            <a:lvl6pPr marL="2228495" indent="0">
              <a:buNone/>
              <a:defRPr sz="1600" b="1"/>
            </a:lvl6pPr>
            <a:lvl7pPr marL="2674201" indent="0">
              <a:buNone/>
              <a:defRPr sz="1600" b="1"/>
            </a:lvl7pPr>
            <a:lvl8pPr marL="3119898" indent="0">
              <a:buNone/>
              <a:defRPr sz="1600" b="1"/>
            </a:lvl8pPr>
            <a:lvl9pPr marL="3565605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6816" y="2175321"/>
            <a:ext cx="403988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703" y="1535541"/>
            <a:ext cx="404150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5636" indent="0">
              <a:buNone/>
              <a:defRPr sz="2000" b="1"/>
            </a:lvl2pPr>
            <a:lvl3pPr marL="891389" indent="0">
              <a:buNone/>
              <a:defRPr sz="1800" b="1"/>
            </a:lvl3pPr>
            <a:lvl4pPr marL="1337098" indent="0">
              <a:buNone/>
              <a:defRPr sz="1600" b="1"/>
            </a:lvl4pPr>
            <a:lvl5pPr marL="1782801" indent="0">
              <a:buNone/>
              <a:defRPr sz="1600" b="1"/>
            </a:lvl5pPr>
            <a:lvl6pPr marL="2228495" indent="0">
              <a:buNone/>
              <a:defRPr sz="1600" b="1"/>
            </a:lvl6pPr>
            <a:lvl7pPr marL="2674201" indent="0">
              <a:buNone/>
              <a:defRPr sz="1600" b="1"/>
            </a:lvl7pPr>
            <a:lvl8pPr marL="3119898" indent="0">
              <a:buNone/>
              <a:defRPr sz="1600" b="1"/>
            </a:lvl8pPr>
            <a:lvl9pPr marL="3565605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703" y="2175321"/>
            <a:ext cx="404150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5F6768-60A8-4C12-9433-BD3CCD0945A0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00133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6614573"/>
            <a:ext cx="8445848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6376151"/>
            <a:ext cx="8445848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8" y="497112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753585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808866" y="6598844"/>
            <a:ext cx="199241" cy="155496"/>
          </a:xfrm>
          <a:prstGeom prst="rect">
            <a:avLst/>
          </a:prstGeom>
        </p:spPr>
        <p:txBody>
          <a:bodyPr lIns="91431" tIns="45717" rIns="91431" bIns="45717"/>
          <a:lstStyle>
            <a:lvl1pPr>
              <a:defRPr>
                <a:latin typeface="Arial" charset="0"/>
              </a:defRPr>
            </a:lvl1pPr>
          </a:lstStyle>
          <a:p>
            <a:pPr defTabSz="913501" fontAlgn="auto">
              <a:spcBef>
                <a:spcPts val="0"/>
              </a:spcBef>
              <a:spcAft>
                <a:spcPts val="0"/>
              </a:spcAft>
              <a:defRPr/>
            </a:pPr>
            <a:fld id="{806E1E49-ACF1-49AA-9C1B-EC5BB171B6C3}" type="slidenum">
              <a:rPr lang="ru-RU" sz="1800" smtClean="0"/>
              <a:pPr defTabSz="91350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r>
              <a:rPr lang="ru-RU" sz="1800" smtClean="0"/>
              <a:t> 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2471067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349865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/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5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/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01" y="508602"/>
            <a:ext cx="28533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/>
              <a:t>Last Modified 11.06.2013 11:21 Russian Standard Time</a:t>
            </a:r>
            <a:endParaRPr lang="ru-RU" sz="900" dirty="0" smtClean="0"/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9" y="668956"/>
            <a:ext cx="25327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/>
              <a:t>Printed 10.06.2013 11:52 Russian Standard Time</a:t>
            </a:r>
            <a:endParaRPr lang="ru-RU" sz="900" dirty="0" smtClean="0"/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/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/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40"/>
              <a:ext cx="3226" cy="2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126" eaLnBrk="0" hangingPunct="0"/>
              <a:r>
                <a:rPr lang="ru-RU" sz="800" dirty="0" smtClean="0"/>
                <a:t>КОНФИДЕНЦИАЛЬНАЯ ИНФОРМАЦИЯ, СОБСТВЕННОСТЬ McKINSEY &amp; COMPANY</a:t>
              </a:r>
            </a:p>
            <a:p>
              <a:pPr defTabSz="821126" eaLnBrk="0" hangingPunct="0"/>
              <a:r>
                <a:rPr lang="ru-RU" sz="800" dirty="0" smtClean="0"/>
                <a:t>Любое использование этого документа без специального разрешения McKinsey &amp; Company строго запрещено</a:t>
              </a:r>
              <a:endParaRPr lang="ru-RU" sz="800" dirty="0"/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/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8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70596" y="2132247"/>
            <a:ext cx="6259287" cy="507831"/>
          </a:xfrm>
          <a:prstGeom prst="rect">
            <a:avLst/>
          </a:prstGeom>
        </p:spPr>
        <p:txBody>
          <a:bodyPr anchor="ctr" anchorCtr="0"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 dirty="0" smtClean="0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-1617" y="835204"/>
            <a:ext cx="9145619" cy="46648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8" tIns="46645" rIns="93288" bIns="46645" rtlCol="0" anchor="ctr"/>
          <a:lstStyle/>
          <a:p>
            <a:pPr lvl="0" algn="ctr"/>
            <a:endParaRPr lang="ru-RU" dirty="0" smtClean="0">
              <a:solidFill>
                <a:schemeClr val="tx1"/>
              </a:solidFill>
            </a:endParaRPr>
          </a:p>
        </p:txBody>
      </p:sp>
      <p:pic>
        <p:nvPicPr>
          <p:cNvPr id="36" name="Picture 7" descr="Screen Shot 2013-12-24 at 12.16.45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4901" y="169393"/>
            <a:ext cx="1985020" cy="637214"/>
          </a:xfrm>
          <a:prstGeom prst="rect">
            <a:avLst/>
          </a:prstGeom>
        </p:spPr>
      </p:pic>
      <p:grpSp>
        <p:nvGrpSpPr>
          <p:cNvPr id="2" name="Группа 1"/>
          <p:cNvGrpSpPr/>
          <p:nvPr userDrawn="1"/>
        </p:nvGrpSpPr>
        <p:grpSpPr>
          <a:xfrm>
            <a:off x="-9158" y="4884406"/>
            <a:ext cx="9175002" cy="2156737"/>
            <a:chOff x="-8976" y="4787170"/>
            <a:chExt cx="8991821" cy="2113802"/>
          </a:xfrm>
        </p:grpSpPr>
        <p:pic>
          <p:nvPicPr>
            <p:cNvPr id="43" name="Picture 2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19" r="801"/>
            <a:stretch/>
          </p:blipFill>
          <p:spPr bwMode="auto">
            <a:xfrm>
              <a:off x="-1" y="4787170"/>
              <a:ext cx="8961439" cy="1841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4" name="Группа 43"/>
            <p:cNvGrpSpPr/>
            <p:nvPr userDrawn="1"/>
          </p:nvGrpSpPr>
          <p:grpSpPr>
            <a:xfrm>
              <a:off x="-8976" y="5750183"/>
              <a:ext cx="8991821" cy="1150789"/>
              <a:chOff x="-8976" y="5750183"/>
              <a:chExt cx="8991821" cy="1150789"/>
            </a:xfrm>
          </p:grpSpPr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 rot="21401812">
                <a:off x="3021" y="6317320"/>
                <a:ext cx="5333974" cy="583652"/>
              </a:xfrm>
              <a:custGeom>
                <a:avLst/>
                <a:gdLst/>
                <a:ahLst/>
                <a:cxnLst/>
                <a:rect l="l" t="t" r="r" b="b"/>
                <a:pathLst>
                  <a:path w="5333974" h="583652">
                    <a:moveTo>
                      <a:pt x="5276645" y="572390"/>
                    </a:moveTo>
                    <a:cubicBezTo>
                      <a:pt x="5295731" y="576282"/>
                      <a:pt x="5314854" y="579973"/>
                      <a:pt x="5333974" y="583652"/>
                    </a:cubicBezTo>
                    <a:lnTo>
                      <a:pt x="5276180" y="580462"/>
                    </a:lnTo>
                    <a:close/>
                    <a:moveTo>
                      <a:pt x="2002421" y="7710"/>
                    </a:moveTo>
                    <a:cubicBezTo>
                      <a:pt x="2746081" y="41292"/>
                      <a:pt x="3941635" y="311324"/>
                      <a:pt x="5151013" y="547708"/>
                    </a:cubicBezTo>
                    <a:lnTo>
                      <a:pt x="3682725" y="462967"/>
                    </a:lnTo>
                    <a:lnTo>
                      <a:pt x="3682598" y="465178"/>
                    </a:lnTo>
                    <a:cubicBezTo>
                      <a:pt x="2972445" y="364324"/>
                      <a:pt x="2335517" y="281380"/>
                      <a:pt x="1880469" y="260831"/>
                    </a:cubicBezTo>
                    <a:cubicBezTo>
                      <a:pt x="1585660" y="247519"/>
                      <a:pt x="1283245" y="266577"/>
                      <a:pt x="989675" y="307538"/>
                    </a:cubicBezTo>
                    <a:lnTo>
                      <a:pt x="0" y="250419"/>
                    </a:lnTo>
                    <a:lnTo>
                      <a:pt x="4858" y="169923"/>
                    </a:lnTo>
                    <a:cubicBezTo>
                      <a:pt x="543116" y="59278"/>
                      <a:pt x="1231841" y="-26781"/>
                      <a:pt x="2002421" y="7710"/>
                    </a:cubicBezTo>
                    <a:close/>
                  </a:path>
                </a:pathLst>
              </a:custGeom>
              <a:solidFill>
                <a:srgbClr val="A7D0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grpSp>
            <p:nvGrpSpPr>
              <p:cNvPr id="46" name="Группа 45"/>
              <p:cNvGrpSpPr/>
              <p:nvPr/>
            </p:nvGrpSpPr>
            <p:grpSpPr>
              <a:xfrm>
                <a:off x="-8976" y="5750183"/>
                <a:ext cx="8991821" cy="1095217"/>
                <a:chOff x="-8976" y="5750183"/>
                <a:chExt cx="8991821" cy="1095217"/>
              </a:xfrm>
            </p:grpSpPr>
            <p:sp>
              <p:nvSpPr>
                <p:cNvPr id="47" name="Freeform 8"/>
                <p:cNvSpPr>
                  <a:spLocks/>
                </p:cNvSpPr>
                <p:nvPr/>
              </p:nvSpPr>
              <p:spPr bwMode="auto">
                <a:xfrm rot="21401812">
                  <a:off x="8766" y="5750183"/>
                  <a:ext cx="8974079" cy="9975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4079" h="997596">
                      <a:moveTo>
                        <a:pt x="8974079" y="256658"/>
                      </a:moveTo>
                      <a:lnTo>
                        <a:pt x="8969227" y="340728"/>
                      </a:lnTo>
                      <a:cubicBezTo>
                        <a:pt x="8564536" y="640458"/>
                        <a:pt x="7878802" y="997596"/>
                        <a:pt x="6912361" y="997596"/>
                      </a:cubicBezTo>
                      <a:cubicBezTo>
                        <a:pt x="5249207" y="997596"/>
                        <a:pt x="3171705" y="95150"/>
                        <a:pt x="1612138" y="95151"/>
                      </a:cubicBezTo>
                      <a:cubicBezTo>
                        <a:pt x="878567" y="95151"/>
                        <a:pt x="351898" y="189883"/>
                        <a:pt x="0" y="290901"/>
                      </a:cubicBezTo>
                      <a:lnTo>
                        <a:pt x="5097" y="206451"/>
                      </a:lnTo>
                      <a:cubicBezTo>
                        <a:pt x="356949" y="99692"/>
                        <a:pt x="882082" y="-1"/>
                        <a:pt x="1612138" y="0"/>
                      </a:cubicBezTo>
                      <a:cubicBezTo>
                        <a:pt x="3168828" y="0"/>
                        <a:pt x="5249207" y="961914"/>
                        <a:pt x="6912361" y="961913"/>
                      </a:cubicBezTo>
                      <a:cubicBezTo>
                        <a:pt x="7883088" y="961913"/>
                        <a:pt x="8570523" y="577496"/>
                        <a:pt x="8974079" y="256658"/>
                      </a:cubicBezTo>
                      <a:close/>
                    </a:path>
                  </a:pathLst>
                </a:custGeom>
                <a:solidFill>
                  <a:srgbClr val="CBDB2A"/>
                </a:solidFill>
                <a:ln w="12700">
                  <a:solidFill>
                    <a:srgbClr val="CBDB2A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dirty="0"/>
                </a:p>
              </p:txBody>
            </p:sp>
            <p:sp>
              <p:nvSpPr>
                <p:cNvPr id="48" name="Freeform 9"/>
                <p:cNvSpPr>
                  <a:spLocks/>
                </p:cNvSpPr>
                <p:nvPr/>
              </p:nvSpPr>
              <p:spPr bwMode="auto">
                <a:xfrm rot="21401812">
                  <a:off x="-8976" y="5845921"/>
                  <a:ext cx="8991280" cy="9561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6656" h="956109">
                      <a:moveTo>
                        <a:pt x="8976656" y="245543"/>
                      </a:moveTo>
                      <a:lnTo>
                        <a:pt x="8968839" y="380995"/>
                      </a:lnTo>
                      <a:cubicBezTo>
                        <a:pt x="8560462" y="647681"/>
                        <a:pt x="7881915" y="956109"/>
                        <a:pt x="6935009" y="956109"/>
                      </a:cubicBezTo>
                      <a:cubicBezTo>
                        <a:pt x="5268979" y="956109"/>
                        <a:pt x="3185721" y="144234"/>
                        <a:pt x="1623278" y="144234"/>
                      </a:cubicBezTo>
                      <a:cubicBezTo>
                        <a:pt x="882318" y="144234"/>
                        <a:pt x="352320" y="230846"/>
                        <a:pt x="0" y="322515"/>
                      </a:cubicBezTo>
                      <a:lnTo>
                        <a:pt x="7638" y="195957"/>
                      </a:lnTo>
                      <a:cubicBezTo>
                        <a:pt x="359537" y="94859"/>
                        <a:pt x="886396" y="0"/>
                        <a:pt x="1620399" y="0"/>
                      </a:cubicBezTo>
                      <a:cubicBezTo>
                        <a:pt x="3177089" y="0"/>
                        <a:pt x="5257469" y="902579"/>
                        <a:pt x="6920623" y="902579"/>
                      </a:cubicBezTo>
                      <a:cubicBezTo>
                        <a:pt x="7886613" y="902579"/>
                        <a:pt x="8572070" y="545423"/>
                        <a:pt x="8976656" y="245543"/>
                      </a:cubicBezTo>
                      <a:close/>
                    </a:path>
                  </a:pathLst>
                </a:custGeom>
                <a:solidFill>
                  <a:srgbClr val="6D9D3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dirty="0"/>
                </a:p>
              </p:txBody>
            </p:sp>
            <p:sp>
              <p:nvSpPr>
                <p:cNvPr id="49" name="Freeform 10"/>
                <p:cNvSpPr>
                  <a:spLocks/>
                </p:cNvSpPr>
                <p:nvPr/>
              </p:nvSpPr>
              <p:spPr bwMode="auto">
                <a:xfrm rot="21401812">
                  <a:off x="5052" y="5990568"/>
                  <a:ext cx="8964051" cy="854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5335" h="854832">
                      <a:moveTo>
                        <a:pt x="8975335" y="228107"/>
                      </a:moveTo>
                      <a:lnTo>
                        <a:pt x="8968669" y="343617"/>
                      </a:lnTo>
                      <a:cubicBezTo>
                        <a:pt x="8565323" y="579247"/>
                        <a:pt x="7907768" y="846431"/>
                        <a:pt x="6996356" y="854832"/>
                      </a:cubicBezTo>
                      <a:lnTo>
                        <a:pt x="6771421" y="842418"/>
                      </a:lnTo>
                      <a:lnTo>
                        <a:pt x="6160628" y="808709"/>
                      </a:lnTo>
                      <a:cubicBezTo>
                        <a:pt x="4658324" y="648621"/>
                        <a:pt x="2957691" y="118920"/>
                        <a:pt x="1633308" y="118921"/>
                      </a:cubicBezTo>
                      <a:cubicBezTo>
                        <a:pt x="885697" y="118921"/>
                        <a:pt x="352711" y="198599"/>
                        <a:pt x="0" y="282365"/>
                      </a:cubicBezTo>
                      <a:lnTo>
                        <a:pt x="6280" y="178326"/>
                      </a:lnTo>
                      <a:cubicBezTo>
                        <a:pt x="358237" y="86650"/>
                        <a:pt x="887657" y="1"/>
                        <a:pt x="1627553" y="0"/>
                      </a:cubicBezTo>
                      <a:cubicBezTo>
                        <a:pt x="3187184" y="1"/>
                        <a:pt x="5267650" y="811631"/>
                        <a:pt x="6930874" y="811631"/>
                      </a:cubicBezTo>
                      <a:cubicBezTo>
                        <a:pt x="7887631" y="811631"/>
                        <a:pt x="8569204" y="496328"/>
                        <a:pt x="8975335" y="228107"/>
                      </a:cubicBezTo>
                      <a:close/>
                    </a:path>
                  </a:pathLst>
                </a:custGeom>
                <a:solidFill>
                  <a:srgbClr val="8DC63F"/>
                </a:solidFill>
                <a:ln w="19050">
                  <a:solidFill>
                    <a:srgbClr val="8DC63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dirty="0"/>
                </a:p>
              </p:txBody>
            </p:sp>
          </p:grpSp>
        </p:grpSp>
      </p:grpSp>
      <p:pic>
        <p:nvPicPr>
          <p:cNvPr id="50" name="Picture 2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28" b="4627"/>
          <a:stretch/>
        </p:blipFill>
        <p:spPr bwMode="auto">
          <a:xfrm>
            <a:off x="4341360" y="3255687"/>
            <a:ext cx="4802640" cy="3107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70596" y="3698325"/>
            <a:ext cx="5909557" cy="251222"/>
          </a:xfrm>
        </p:spPr>
        <p:txBody>
          <a:bodyPr wrap="square">
            <a:spAutoFit/>
          </a:bodyPr>
          <a:lstStyle>
            <a:lvl1pPr>
              <a:defRPr sz="16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64589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349865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5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804" y="508602"/>
            <a:ext cx="28533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1.06.2013 11:21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03" y="668963"/>
            <a:ext cx="25327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</a:rPr>
              <a:t>Printed 10.06.2013 11:52 Russian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8" y="6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40"/>
              <a:ext cx="3226" cy="2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0690" eaLnBrk="0" hangingPunct="0"/>
              <a:r>
                <a:rPr lang="ru-RU" sz="800" dirty="0" smtClean="0">
                  <a:latin typeface="Arial" charset="0"/>
                </a:rPr>
                <a:t>КОНФИДЕНЦИАЛЬНАЯ ИНФОРМАЦИЯ, СОБСТВЕННОСТЬ McKINSEY &amp; COMPANY</a:t>
              </a:r>
            </a:p>
            <a:p>
              <a:pPr defTabSz="820690" eaLnBrk="0" hangingPunct="0"/>
              <a:r>
                <a:rPr lang="ru-RU" sz="800" dirty="0" smtClean="0">
                  <a:latin typeface="Arial" charset="0"/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00" dirty="0">
                <a:latin typeface="Arial" charset="0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>
                <a:latin typeface="Arial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>
                <a:latin typeface="Arial" charset="0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>
                <a:latin typeface="Arial" charset="0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6" y="6574553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70601" y="2132252"/>
            <a:ext cx="6259287" cy="507831"/>
          </a:xfrm>
          <a:prstGeom prst="rect">
            <a:avLst/>
          </a:prstGeom>
        </p:spPr>
        <p:txBody>
          <a:bodyPr anchor="ctr" anchorCtr="0"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 dirty="0" smtClean="0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-1612" y="835204"/>
            <a:ext cx="9145619" cy="46648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37" tIns="46619" rIns="93237" bIns="46619" rtlCol="0" anchor="ctr"/>
          <a:lstStyle/>
          <a:p>
            <a:pPr algn="ctr"/>
            <a:endParaRPr lang="ru-RU" dirty="0" err="1" smtClean="0">
              <a:solidFill>
                <a:srgbClr val="000000"/>
              </a:solidFill>
            </a:endParaRPr>
          </a:p>
        </p:txBody>
      </p:sp>
      <p:pic>
        <p:nvPicPr>
          <p:cNvPr id="36" name="Picture 7" descr="Screen Shot 2013-12-24 at 12.16.45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4903" y="169398"/>
            <a:ext cx="1985020" cy="637214"/>
          </a:xfrm>
          <a:prstGeom prst="rect">
            <a:avLst/>
          </a:prstGeom>
        </p:spPr>
      </p:pic>
      <p:grpSp>
        <p:nvGrpSpPr>
          <p:cNvPr id="2" name="Группа 1"/>
          <p:cNvGrpSpPr/>
          <p:nvPr userDrawn="1"/>
        </p:nvGrpSpPr>
        <p:grpSpPr>
          <a:xfrm>
            <a:off x="-9153" y="4884414"/>
            <a:ext cx="9175002" cy="2156737"/>
            <a:chOff x="-8976" y="4787170"/>
            <a:chExt cx="8991821" cy="2113802"/>
          </a:xfrm>
        </p:grpSpPr>
        <p:pic>
          <p:nvPicPr>
            <p:cNvPr id="43" name="Picture 2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19" r="801"/>
            <a:stretch/>
          </p:blipFill>
          <p:spPr bwMode="auto">
            <a:xfrm>
              <a:off x="-1" y="4787170"/>
              <a:ext cx="8961439" cy="1841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4" name="Группа 43"/>
            <p:cNvGrpSpPr/>
            <p:nvPr userDrawn="1"/>
          </p:nvGrpSpPr>
          <p:grpSpPr>
            <a:xfrm>
              <a:off x="-8976" y="5750183"/>
              <a:ext cx="8991821" cy="1150789"/>
              <a:chOff x="-8976" y="5750183"/>
              <a:chExt cx="8991821" cy="1150789"/>
            </a:xfrm>
          </p:grpSpPr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 rot="21401812">
                <a:off x="3021" y="6317320"/>
                <a:ext cx="5333974" cy="583652"/>
              </a:xfrm>
              <a:custGeom>
                <a:avLst/>
                <a:gdLst/>
                <a:ahLst/>
                <a:cxnLst/>
                <a:rect l="l" t="t" r="r" b="b"/>
                <a:pathLst>
                  <a:path w="5333974" h="583652">
                    <a:moveTo>
                      <a:pt x="5276645" y="572390"/>
                    </a:moveTo>
                    <a:cubicBezTo>
                      <a:pt x="5295731" y="576282"/>
                      <a:pt x="5314854" y="579973"/>
                      <a:pt x="5333974" y="583652"/>
                    </a:cubicBezTo>
                    <a:lnTo>
                      <a:pt x="5276180" y="580462"/>
                    </a:lnTo>
                    <a:close/>
                    <a:moveTo>
                      <a:pt x="2002421" y="7710"/>
                    </a:moveTo>
                    <a:cubicBezTo>
                      <a:pt x="2746081" y="41292"/>
                      <a:pt x="3941635" y="311324"/>
                      <a:pt x="5151013" y="547708"/>
                    </a:cubicBezTo>
                    <a:lnTo>
                      <a:pt x="3682725" y="462967"/>
                    </a:lnTo>
                    <a:lnTo>
                      <a:pt x="3682598" y="465178"/>
                    </a:lnTo>
                    <a:cubicBezTo>
                      <a:pt x="2972445" y="364324"/>
                      <a:pt x="2335517" y="281380"/>
                      <a:pt x="1880469" y="260831"/>
                    </a:cubicBezTo>
                    <a:cubicBezTo>
                      <a:pt x="1585660" y="247519"/>
                      <a:pt x="1283245" y="266577"/>
                      <a:pt x="989675" y="307538"/>
                    </a:cubicBezTo>
                    <a:lnTo>
                      <a:pt x="0" y="250419"/>
                    </a:lnTo>
                    <a:lnTo>
                      <a:pt x="4858" y="169923"/>
                    </a:lnTo>
                    <a:cubicBezTo>
                      <a:pt x="543116" y="59278"/>
                      <a:pt x="1231841" y="-26781"/>
                      <a:pt x="2002421" y="7710"/>
                    </a:cubicBezTo>
                    <a:close/>
                  </a:path>
                </a:pathLst>
              </a:custGeom>
              <a:solidFill>
                <a:srgbClr val="A7D0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latin typeface="Arial" charset="0"/>
                </a:endParaRPr>
              </a:p>
            </p:txBody>
          </p:sp>
          <p:grpSp>
            <p:nvGrpSpPr>
              <p:cNvPr id="46" name="Группа 45"/>
              <p:cNvGrpSpPr/>
              <p:nvPr/>
            </p:nvGrpSpPr>
            <p:grpSpPr>
              <a:xfrm>
                <a:off x="-8976" y="5750183"/>
                <a:ext cx="8991821" cy="1095217"/>
                <a:chOff x="-8976" y="5750183"/>
                <a:chExt cx="8991821" cy="1095217"/>
              </a:xfrm>
            </p:grpSpPr>
            <p:sp>
              <p:nvSpPr>
                <p:cNvPr id="47" name="Freeform 8"/>
                <p:cNvSpPr>
                  <a:spLocks/>
                </p:cNvSpPr>
                <p:nvPr/>
              </p:nvSpPr>
              <p:spPr bwMode="auto">
                <a:xfrm rot="21401812">
                  <a:off x="8766" y="5750183"/>
                  <a:ext cx="8974079" cy="9975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4079" h="997596">
                      <a:moveTo>
                        <a:pt x="8974079" y="256658"/>
                      </a:moveTo>
                      <a:lnTo>
                        <a:pt x="8969227" y="340728"/>
                      </a:lnTo>
                      <a:cubicBezTo>
                        <a:pt x="8564536" y="640458"/>
                        <a:pt x="7878802" y="997596"/>
                        <a:pt x="6912361" y="997596"/>
                      </a:cubicBezTo>
                      <a:cubicBezTo>
                        <a:pt x="5249207" y="997596"/>
                        <a:pt x="3171705" y="95150"/>
                        <a:pt x="1612138" y="95151"/>
                      </a:cubicBezTo>
                      <a:cubicBezTo>
                        <a:pt x="878567" y="95151"/>
                        <a:pt x="351898" y="189883"/>
                        <a:pt x="0" y="290901"/>
                      </a:cubicBezTo>
                      <a:lnTo>
                        <a:pt x="5097" y="206451"/>
                      </a:lnTo>
                      <a:cubicBezTo>
                        <a:pt x="356949" y="99692"/>
                        <a:pt x="882082" y="-1"/>
                        <a:pt x="1612138" y="0"/>
                      </a:cubicBezTo>
                      <a:cubicBezTo>
                        <a:pt x="3168828" y="0"/>
                        <a:pt x="5249207" y="961914"/>
                        <a:pt x="6912361" y="961913"/>
                      </a:cubicBezTo>
                      <a:cubicBezTo>
                        <a:pt x="7883088" y="961913"/>
                        <a:pt x="8570523" y="577496"/>
                        <a:pt x="8974079" y="256658"/>
                      </a:cubicBezTo>
                      <a:close/>
                    </a:path>
                  </a:pathLst>
                </a:custGeom>
                <a:solidFill>
                  <a:srgbClr val="CBDB2A"/>
                </a:solidFill>
                <a:ln w="12700">
                  <a:solidFill>
                    <a:srgbClr val="CBDB2A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latin typeface="Arial" charset="0"/>
                  </a:endParaRPr>
                </a:p>
              </p:txBody>
            </p:sp>
            <p:sp>
              <p:nvSpPr>
                <p:cNvPr id="48" name="Freeform 9"/>
                <p:cNvSpPr>
                  <a:spLocks/>
                </p:cNvSpPr>
                <p:nvPr/>
              </p:nvSpPr>
              <p:spPr bwMode="auto">
                <a:xfrm rot="21401812">
                  <a:off x="-8976" y="5845921"/>
                  <a:ext cx="8991280" cy="9561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6656" h="956109">
                      <a:moveTo>
                        <a:pt x="8976656" y="245543"/>
                      </a:moveTo>
                      <a:lnTo>
                        <a:pt x="8968839" y="380995"/>
                      </a:lnTo>
                      <a:cubicBezTo>
                        <a:pt x="8560462" y="647681"/>
                        <a:pt x="7881915" y="956109"/>
                        <a:pt x="6935009" y="956109"/>
                      </a:cubicBezTo>
                      <a:cubicBezTo>
                        <a:pt x="5268979" y="956109"/>
                        <a:pt x="3185721" y="144234"/>
                        <a:pt x="1623278" y="144234"/>
                      </a:cubicBezTo>
                      <a:cubicBezTo>
                        <a:pt x="882318" y="144234"/>
                        <a:pt x="352320" y="230846"/>
                        <a:pt x="0" y="322515"/>
                      </a:cubicBezTo>
                      <a:lnTo>
                        <a:pt x="7638" y="195957"/>
                      </a:lnTo>
                      <a:cubicBezTo>
                        <a:pt x="359537" y="94859"/>
                        <a:pt x="886396" y="0"/>
                        <a:pt x="1620399" y="0"/>
                      </a:cubicBezTo>
                      <a:cubicBezTo>
                        <a:pt x="3177089" y="0"/>
                        <a:pt x="5257469" y="902579"/>
                        <a:pt x="6920623" y="902579"/>
                      </a:cubicBezTo>
                      <a:cubicBezTo>
                        <a:pt x="7886613" y="902579"/>
                        <a:pt x="8572070" y="545423"/>
                        <a:pt x="8976656" y="245543"/>
                      </a:cubicBezTo>
                      <a:close/>
                    </a:path>
                  </a:pathLst>
                </a:custGeom>
                <a:solidFill>
                  <a:srgbClr val="6D9D3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latin typeface="Arial" charset="0"/>
                  </a:endParaRPr>
                </a:p>
              </p:txBody>
            </p:sp>
            <p:sp>
              <p:nvSpPr>
                <p:cNvPr id="49" name="Freeform 10"/>
                <p:cNvSpPr>
                  <a:spLocks/>
                </p:cNvSpPr>
                <p:nvPr/>
              </p:nvSpPr>
              <p:spPr bwMode="auto">
                <a:xfrm rot="21401812">
                  <a:off x="5052" y="5990568"/>
                  <a:ext cx="8964051" cy="854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5335" h="854832">
                      <a:moveTo>
                        <a:pt x="8975335" y="228107"/>
                      </a:moveTo>
                      <a:lnTo>
                        <a:pt x="8968669" y="343617"/>
                      </a:lnTo>
                      <a:cubicBezTo>
                        <a:pt x="8565323" y="579247"/>
                        <a:pt x="7907768" y="846431"/>
                        <a:pt x="6996356" y="854832"/>
                      </a:cubicBezTo>
                      <a:lnTo>
                        <a:pt x="6771421" y="842418"/>
                      </a:lnTo>
                      <a:lnTo>
                        <a:pt x="6160628" y="808709"/>
                      </a:lnTo>
                      <a:cubicBezTo>
                        <a:pt x="4658324" y="648621"/>
                        <a:pt x="2957691" y="118920"/>
                        <a:pt x="1633308" y="118921"/>
                      </a:cubicBezTo>
                      <a:cubicBezTo>
                        <a:pt x="885697" y="118921"/>
                        <a:pt x="352711" y="198599"/>
                        <a:pt x="0" y="282365"/>
                      </a:cubicBezTo>
                      <a:lnTo>
                        <a:pt x="6280" y="178326"/>
                      </a:lnTo>
                      <a:cubicBezTo>
                        <a:pt x="358237" y="86650"/>
                        <a:pt x="887657" y="1"/>
                        <a:pt x="1627553" y="0"/>
                      </a:cubicBezTo>
                      <a:cubicBezTo>
                        <a:pt x="3187184" y="1"/>
                        <a:pt x="5267650" y="811631"/>
                        <a:pt x="6930874" y="811631"/>
                      </a:cubicBezTo>
                      <a:cubicBezTo>
                        <a:pt x="7887631" y="811631"/>
                        <a:pt x="8569204" y="496328"/>
                        <a:pt x="8975335" y="228107"/>
                      </a:cubicBezTo>
                      <a:close/>
                    </a:path>
                  </a:pathLst>
                </a:custGeom>
                <a:solidFill>
                  <a:srgbClr val="8DC63F"/>
                </a:solidFill>
                <a:ln w="19050">
                  <a:solidFill>
                    <a:srgbClr val="8DC63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>
                    <a:latin typeface="Arial" charset="0"/>
                  </a:endParaRPr>
                </a:p>
              </p:txBody>
            </p:sp>
          </p:grpSp>
        </p:grpSp>
      </p:grpSp>
      <p:pic>
        <p:nvPicPr>
          <p:cNvPr id="50" name="Picture 2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28" b="4627"/>
          <a:stretch/>
        </p:blipFill>
        <p:spPr bwMode="auto">
          <a:xfrm>
            <a:off x="4341360" y="3255687"/>
            <a:ext cx="4802640" cy="3107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70601" y="3698330"/>
            <a:ext cx="5909557" cy="251222"/>
          </a:xfrm>
        </p:spPr>
        <p:txBody>
          <a:bodyPr wrap="square">
            <a:spAutoFit/>
          </a:bodyPr>
          <a:lstStyle>
            <a:lvl1pPr>
              <a:defRPr sz="16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1708875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8" y="3772430"/>
            <a:ext cx="5036084" cy="222142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2191174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6" name="Picture 2" descr="C:\Users\LUKANI~1\AppData\Local\Temp\Rar$DI05.591\Деревце-с-облачками_don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" y="1634984"/>
            <a:ext cx="3523021" cy="3491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0478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8" y="3772430"/>
            <a:ext cx="5036084" cy="222142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2191174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-238274" y="1457322"/>
            <a:ext cx="3672718" cy="4386576"/>
            <a:chOff x="-273711" y="1428309"/>
            <a:chExt cx="3682622" cy="4398665"/>
          </a:xfrm>
        </p:grpSpPr>
        <p:pic>
          <p:nvPicPr>
            <p:cNvPr id="8" name="Picture 2" descr="C:\Users\Lukanina-AN\AppData\Local\Microsoft\Windows\Temporary Internet Files\Low\Content.IE5\U9HPN9CK\WEareTEAM[1]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4435296">
              <a:off x="1464937" y="1092742"/>
              <a:ext cx="1608407" cy="2279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C:\Users\LUKANI~1\AppData\Local\Temp\Rar$DI00.669\ImLeader_don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7674329">
              <a:off x="82787" y="1695408"/>
              <a:ext cx="1266509" cy="1979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3" descr="C:\Users\LUKANI~1\AppData\Local\Temp\Rar$DI03.218\все-для-клиента_done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353251">
              <a:off x="472355" y="2831967"/>
              <a:ext cx="2499145" cy="2995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10573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8" y="3772430"/>
            <a:ext cx="5036084" cy="222142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2191174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2" descr="C:\Users\LUKANI~1\AppData\Local\Temp\Rar$DI00.709\воздушны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689" y="1666959"/>
            <a:ext cx="3237987" cy="3755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1120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8" y="3772430"/>
            <a:ext cx="5036084" cy="222142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2191174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6" name="Picture 2" descr="C:\Users\LUKANI~1\AppData\Local\Temp\Rar$DI07.270\деревце-с-солнышком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6864" y="1445596"/>
            <a:ext cx="4147114" cy="4384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9333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8" y="3772430"/>
            <a:ext cx="5036084" cy="222142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2191174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7" name="Picture 2" descr="C:\Users\LUKANI~1\AppData\Local\Temp\Rar$DI09.235\земно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712" y="2064785"/>
            <a:ext cx="3327963" cy="3051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4710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er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7" y="6271892"/>
            <a:ext cx="594677" cy="582843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source"/>
          <p:cNvSpPr>
            <a:spLocks noGrp="1"/>
          </p:cNvSpPr>
          <p:nvPr>
            <p:ph type="body" sz="quarter" idx="11" hasCustomPrompt="1"/>
          </p:nvPr>
        </p:nvSpPr>
        <p:spPr>
          <a:xfrm>
            <a:off x="640363" y="6614573"/>
            <a:ext cx="7926979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21" name="footnote"/>
          <p:cNvSpPr>
            <a:spLocks noGrp="1"/>
          </p:cNvSpPr>
          <p:nvPr>
            <p:ph type="body" sz="quarter" idx="12" hasCustomPrompt="1"/>
          </p:nvPr>
        </p:nvSpPr>
        <p:spPr>
          <a:xfrm>
            <a:off x="640363" y="6379274"/>
            <a:ext cx="7926979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7" y="497111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530945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31C3FD-2C65-4BC9-80E8-D50CE40597DE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07330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n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34" y="6274312"/>
            <a:ext cx="638310" cy="574269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40363" y="6379274"/>
            <a:ext cx="7926979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40363" y="6614573"/>
            <a:ext cx="7926979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7" y="497111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142033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ves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2" y="6360569"/>
            <a:ext cx="451939" cy="502715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40363" y="6379274"/>
            <a:ext cx="7926979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6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40363" y="6614573"/>
            <a:ext cx="7926979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7" y="497111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900556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6614573"/>
            <a:ext cx="8445848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6376151"/>
            <a:ext cx="8445848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7" y="497111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445256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70597" y="2139944"/>
            <a:ext cx="6259287" cy="492443"/>
          </a:xfrm>
          <a:prstGeom prst="rect">
            <a:avLst/>
          </a:prstGeom>
        </p:spPr>
        <p:txBody>
          <a:bodyPr anchor="ctr" anchorCtr="0"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-1617" y="835208"/>
            <a:ext cx="9145619" cy="46648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3" tIns="46641" rIns="93283" bIns="46641" rtlCol="0" anchor="ctr"/>
          <a:lstStyle/>
          <a:p>
            <a:pPr algn="ctr"/>
            <a:endParaRPr lang="ru-RU" sz="1700" dirty="0" err="1" smtClean="0">
              <a:solidFill>
                <a:srgbClr val="000000"/>
              </a:solidFill>
            </a:endParaRPr>
          </a:p>
        </p:txBody>
      </p:sp>
      <p:pic>
        <p:nvPicPr>
          <p:cNvPr id="36" name="Picture 7" descr="Screen Shot 2013-12-24 at 12.16.45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4904" y="169393"/>
            <a:ext cx="1985021" cy="637214"/>
          </a:xfrm>
          <a:prstGeom prst="rect">
            <a:avLst/>
          </a:prstGeom>
        </p:spPr>
      </p:pic>
      <p:grpSp>
        <p:nvGrpSpPr>
          <p:cNvPr id="2" name="Группа 1"/>
          <p:cNvGrpSpPr/>
          <p:nvPr userDrawn="1"/>
        </p:nvGrpSpPr>
        <p:grpSpPr>
          <a:xfrm>
            <a:off x="-9158" y="4884406"/>
            <a:ext cx="9175002" cy="2156737"/>
            <a:chOff x="-8976" y="4787170"/>
            <a:chExt cx="8991821" cy="2113802"/>
          </a:xfrm>
        </p:grpSpPr>
        <p:pic>
          <p:nvPicPr>
            <p:cNvPr id="43" name="Picture 2"/>
            <p:cNvPicPr>
              <a:picLocks noChangeAspect="1" noChangeArrowheads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-1" y="4787170"/>
              <a:ext cx="8961439" cy="1841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4" name="Группа 43"/>
            <p:cNvGrpSpPr/>
            <p:nvPr userDrawn="1"/>
          </p:nvGrpSpPr>
          <p:grpSpPr>
            <a:xfrm>
              <a:off x="-8976" y="5750183"/>
              <a:ext cx="8991821" cy="1150789"/>
              <a:chOff x="-8976" y="5750183"/>
              <a:chExt cx="8991821" cy="1150789"/>
            </a:xfrm>
          </p:grpSpPr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 rot="21401812">
                <a:off x="3021" y="6317320"/>
                <a:ext cx="5333974" cy="583652"/>
              </a:xfrm>
              <a:custGeom>
                <a:avLst/>
                <a:gdLst/>
                <a:ahLst/>
                <a:cxnLst/>
                <a:rect l="l" t="t" r="r" b="b"/>
                <a:pathLst>
                  <a:path w="5333974" h="583652">
                    <a:moveTo>
                      <a:pt x="5276645" y="572390"/>
                    </a:moveTo>
                    <a:cubicBezTo>
                      <a:pt x="5295731" y="576282"/>
                      <a:pt x="5314854" y="579973"/>
                      <a:pt x="5333974" y="583652"/>
                    </a:cubicBezTo>
                    <a:lnTo>
                      <a:pt x="5276180" y="580462"/>
                    </a:lnTo>
                    <a:close/>
                    <a:moveTo>
                      <a:pt x="2002421" y="7710"/>
                    </a:moveTo>
                    <a:cubicBezTo>
                      <a:pt x="2746081" y="41292"/>
                      <a:pt x="3941635" y="311324"/>
                      <a:pt x="5151013" y="547708"/>
                    </a:cubicBezTo>
                    <a:lnTo>
                      <a:pt x="3682725" y="462967"/>
                    </a:lnTo>
                    <a:lnTo>
                      <a:pt x="3682598" y="465178"/>
                    </a:lnTo>
                    <a:cubicBezTo>
                      <a:pt x="2972445" y="364324"/>
                      <a:pt x="2335517" y="281380"/>
                      <a:pt x="1880469" y="260831"/>
                    </a:cubicBezTo>
                    <a:cubicBezTo>
                      <a:pt x="1585660" y="247519"/>
                      <a:pt x="1283245" y="266577"/>
                      <a:pt x="989675" y="307538"/>
                    </a:cubicBezTo>
                    <a:lnTo>
                      <a:pt x="0" y="250419"/>
                    </a:lnTo>
                    <a:lnTo>
                      <a:pt x="4858" y="169923"/>
                    </a:lnTo>
                    <a:cubicBezTo>
                      <a:pt x="543116" y="59278"/>
                      <a:pt x="1231841" y="-26781"/>
                      <a:pt x="2002421" y="7710"/>
                    </a:cubicBezTo>
                    <a:close/>
                  </a:path>
                </a:pathLst>
              </a:custGeom>
              <a:solidFill>
                <a:srgbClr val="A7D0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700">
                  <a:latin typeface="Arial" charset="0"/>
                  <a:cs typeface="Arial" pitchFamily="34" charset="0"/>
                </a:endParaRPr>
              </a:p>
            </p:txBody>
          </p:sp>
          <p:grpSp>
            <p:nvGrpSpPr>
              <p:cNvPr id="46" name="Группа 45"/>
              <p:cNvGrpSpPr/>
              <p:nvPr/>
            </p:nvGrpSpPr>
            <p:grpSpPr>
              <a:xfrm>
                <a:off x="-8976" y="5750183"/>
                <a:ext cx="8991821" cy="1095217"/>
                <a:chOff x="-8976" y="5750183"/>
                <a:chExt cx="8991821" cy="1095217"/>
              </a:xfrm>
            </p:grpSpPr>
            <p:sp>
              <p:nvSpPr>
                <p:cNvPr id="47" name="Freeform 8"/>
                <p:cNvSpPr>
                  <a:spLocks/>
                </p:cNvSpPr>
                <p:nvPr/>
              </p:nvSpPr>
              <p:spPr bwMode="auto">
                <a:xfrm rot="21401812">
                  <a:off x="8766" y="5750183"/>
                  <a:ext cx="8974079" cy="9975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4079" h="997596">
                      <a:moveTo>
                        <a:pt x="8974079" y="256658"/>
                      </a:moveTo>
                      <a:lnTo>
                        <a:pt x="8969227" y="340728"/>
                      </a:lnTo>
                      <a:cubicBezTo>
                        <a:pt x="8564536" y="640458"/>
                        <a:pt x="7878802" y="997596"/>
                        <a:pt x="6912361" y="997596"/>
                      </a:cubicBezTo>
                      <a:cubicBezTo>
                        <a:pt x="5249207" y="997596"/>
                        <a:pt x="3171705" y="95150"/>
                        <a:pt x="1612138" y="95151"/>
                      </a:cubicBezTo>
                      <a:cubicBezTo>
                        <a:pt x="878567" y="95151"/>
                        <a:pt x="351898" y="189883"/>
                        <a:pt x="0" y="290901"/>
                      </a:cubicBezTo>
                      <a:lnTo>
                        <a:pt x="5097" y="206451"/>
                      </a:lnTo>
                      <a:cubicBezTo>
                        <a:pt x="356949" y="99692"/>
                        <a:pt x="882082" y="-1"/>
                        <a:pt x="1612138" y="0"/>
                      </a:cubicBezTo>
                      <a:cubicBezTo>
                        <a:pt x="3168828" y="0"/>
                        <a:pt x="5249207" y="961914"/>
                        <a:pt x="6912361" y="961913"/>
                      </a:cubicBezTo>
                      <a:cubicBezTo>
                        <a:pt x="7883088" y="961913"/>
                        <a:pt x="8570523" y="577496"/>
                        <a:pt x="8974079" y="256658"/>
                      </a:cubicBezTo>
                      <a:close/>
                    </a:path>
                  </a:pathLst>
                </a:custGeom>
                <a:solidFill>
                  <a:srgbClr val="CBDB2A"/>
                </a:solidFill>
                <a:ln w="12700">
                  <a:solidFill>
                    <a:srgbClr val="CBDB2A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700">
                    <a:latin typeface="Arial" charset="0"/>
                    <a:cs typeface="Arial" pitchFamily="34" charset="0"/>
                  </a:endParaRPr>
                </a:p>
              </p:txBody>
            </p:sp>
            <p:sp>
              <p:nvSpPr>
                <p:cNvPr id="48" name="Freeform 9"/>
                <p:cNvSpPr>
                  <a:spLocks/>
                </p:cNvSpPr>
                <p:nvPr/>
              </p:nvSpPr>
              <p:spPr bwMode="auto">
                <a:xfrm rot="21401812">
                  <a:off x="-8976" y="5845921"/>
                  <a:ext cx="8991280" cy="9561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6656" h="956109">
                      <a:moveTo>
                        <a:pt x="8976656" y="245543"/>
                      </a:moveTo>
                      <a:lnTo>
                        <a:pt x="8968839" y="380995"/>
                      </a:lnTo>
                      <a:cubicBezTo>
                        <a:pt x="8560462" y="647681"/>
                        <a:pt x="7881915" y="956109"/>
                        <a:pt x="6935009" y="956109"/>
                      </a:cubicBezTo>
                      <a:cubicBezTo>
                        <a:pt x="5268979" y="956109"/>
                        <a:pt x="3185721" y="144234"/>
                        <a:pt x="1623278" y="144234"/>
                      </a:cubicBezTo>
                      <a:cubicBezTo>
                        <a:pt x="882318" y="144234"/>
                        <a:pt x="352320" y="230846"/>
                        <a:pt x="0" y="322515"/>
                      </a:cubicBezTo>
                      <a:lnTo>
                        <a:pt x="7638" y="195957"/>
                      </a:lnTo>
                      <a:cubicBezTo>
                        <a:pt x="359537" y="94859"/>
                        <a:pt x="886396" y="0"/>
                        <a:pt x="1620399" y="0"/>
                      </a:cubicBezTo>
                      <a:cubicBezTo>
                        <a:pt x="3177089" y="0"/>
                        <a:pt x="5257469" y="902579"/>
                        <a:pt x="6920623" y="902579"/>
                      </a:cubicBezTo>
                      <a:cubicBezTo>
                        <a:pt x="7886613" y="902579"/>
                        <a:pt x="8572070" y="545423"/>
                        <a:pt x="8976656" y="245543"/>
                      </a:cubicBezTo>
                      <a:close/>
                    </a:path>
                  </a:pathLst>
                </a:custGeom>
                <a:solidFill>
                  <a:srgbClr val="6D9D3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700">
                    <a:latin typeface="Arial" charset="0"/>
                    <a:cs typeface="Arial" pitchFamily="34" charset="0"/>
                  </a:endParaRPr>
                </a:p>
              </p:txBody>
            </p:sp>
            <p:sp>
              <p:nvSpPr>
                <p:cNvPr id="49" name="Freeform 10"/>
                <p:cNvSpPr>
                  <a:spLocks/>
                </p:cNvSpPr>
                <p:nvPr/>
              </p:nvSpPr>
              <p:spPr bwMode="auto">
                <a:xfrm rot="21401812">
                  <a:off x="5052" y="5990568"/>
                  <a:ext cx="8964051" cy="854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5335" h="854832">
                      <a:moveTo>
                        <a:pt x="8975335" y="228107"/>
                      </a:moveTo>
                      <a:lnTo>
                        <a:pt x="8968669" y="343617"/>
                      </a:lnTo>
                      <a:cubicBezTo>
                        <a:pt x="8565323" y="579247"/>
                        <a:pt x="7907768" y="846431"/>
                        <a:pt x="6996356" y="854832"/>
                      </a:cubicBezTo>
                      <a:lnTo>
                        <a:pt x="6771421" y="842418"/>
                      </a:lnTo>
                      <a:lnTo>
                        <a:pt x="6160628" y="808709"/>
                      </a:lnTo>
                      <a:cubicBezTo>
                        <a:pt x="4658324" y="648621"/>
                        <a:pt x="2957691" y="118920"/>
                        <a:pt x="1633308" y="118921"/>
                      </a:cubicBezTo>
                      <a:cubicBezTo>
                        <a:pt x="885697" y="118921"/>
                        <a:pt x="352711" y="198599"/>
                        <a:pt x="0" y="282365"/>
                      </a:cubicBezTo>
                      <a:lnTo>
                        <a:pt x="6280" y="178326"/>
                      </a:lnTo>
                      <a:cubicBezTo>
                        <a:pt x="358237" y="86650"/>
                        <a:pt x="887657" y="1"/>
                        <a:pt x="1627553" y="0"/>
                      </a:cubicBezTo>
                      <a:cubicBezTo>
                        <a:pt x="3187184" y="1"/>
                        <a:pt x="5267650" y="811631"/>
                        <a:pt x="6930874" y="811631"/>
                      </a:cubicBezTo>
                      <a:cubicBezTo>
                        <a:pt x="7887631" y="811631"/>
                        <a:pt x="8569204" y="496328"/>
                        <a:pt x="8975335" y="228107"/>
                      </a:cubicBezTo>
                      <a:close/>
                    </a:path>
                  </a:pathLst>
                </a:custGeom>
                <a:solidFill>
                  <a:srgbClr val="8DC63F"/>
                </a:solidFill>
                <a:ln w="19050">
                  <a:solidFill>
                    <a:srgbClr val="8DC63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700">
                    <a:latin typeface="Arial" charset="0"/>
                    <a:cs typeface="Arial" pitchFamily="34" charset="0"/>
                  </a:endParaRPr>
                </a:p>
              </p:txBody>
            </p:sp>
          </p:grpSp>
        </p:grpSp>
      </p:grpSp>
      <p:pic>
        <p:nvPicPr>
          <p:cNvPr id="50" name="Picture 2"/>
          <p:cNvPicPr>
            <a:picLocks noChangeAspect="1" noChangeArrowheads="1"/>
          </p:cNvPicPr>
          <p:nvPr userDrawn="1"/>
        </p:nvPicPr>
        <p:blipFill rotWithShape="1">
          <a:blip r:embed="rId4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341360" y="3255691"/>
            <a:ext cx="4802640" cy="3107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70594" y="3698328"/>
            <a:ext cx="5909556" cy="266571"/>
          </a:xfrm>
        </p:spPr>
        <p:txBody>
          <a:bodyPr wrap="square">
            <a:spAutoFit/>
          </a:bodyPr>
          <a:lstStyle>
            <a:lvl1pPr>
              <a:defRPr sz="17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945649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718553"/>
            <a:ext cx="6331957" cy="1332853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6614574"/>
            <a:ext cx="8445848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6376152"/>
            <a:ext cx="8445848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2" y="497105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39072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0" y="958177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8234" y="573899"/>
            <a:ext cx="6428454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pic>
        <p:nvPicPr>
          <p:cNvPr id="5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3" y="184651"/>
            <a:ext cx="2152435" cy="597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8604449" y="6453353"/>
            <a:ext cx="539552" cy="307777"/>
          </a:xfrm>
          <a:prstGeom prst="rect">
            <a:avLst/>
          </a:prstGeom>
          <a:noFill/>
        </p:spPr>
        <p:txBody>
          <a:bodyPr wrap="square" lIns="91390" tIns="45699" rIns="91390" bIns="45699" rtlCol="0">
            <a:spAutoFit/>
          </a:bodyPr>
          <a:lstStyle>
            <a:defPPr>
              <a:defRPr lang="ru-RU"/>
            </a:defPPr>
            <a:lvl1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3910" fontAlgn="auto">
              <a:spcBef>
                <a:spcPts val="0"/>
              </a:spcBef>
              <a:spcAft>
                <a:spcPts val="0"/>
              </a:spcAft>
            </a:pPr>
            <a:fld id="{91AD4EB0-CEB3-4892-90AA-400FF97E5AC3}" type="slidenum">
              <a:rPr lang="ru-RU" smtClean="0"/>
              <a:pPr defTabSz="91391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2354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741480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/>
          <a:srcRect/>
          <a:stretch>
            <a:fillRect b="-5183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120938" y="27024"/>
            <a:ext cx="85921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2013">
              <a:defRPr/>
            </a:pPr>
            <a:r>
              <a:rPr lang="en-GB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5" name="McK 3. Unit of measure" hidden="1"/>
          <p:cNvSpPr txBox="1">
            <a:spLocks noChangeArrowheads="1"/>
          </p:cNvSpPr>
          <p:nvPr/>
        </p:nvSpPr>
        <p:spPr bwMode="auto">
          <a:xfrm>
            <a:off x="120932" y="792038"/>
            <a:ext cx="3730764" cy="22214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algn="l" defTabSz="9398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79463" indent="-300038" algn="l" defTabSz="9398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200150" indent="-239713" algn="l" defTabSz="9398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79575" indent="-239713" algn="l" defTabSz="9398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159000" indent="-239713" algn="l" defTabSz="9398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616200" indent="-239713" defTabSz="939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73400" indent="-239713" defTabSz="939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530600" indent="-239713" defTabSz="939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87800" indent="-239713" defTabSz="939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481424" y="1116728"/>
            <a:ext cx="4352054" cy="551360"/>
            <a:chOff x="915" y="689"/>
            <a:chExt cx="2686" cy="341"/>
          </a:xfrm>
        </p:grpSpPr>
        <p:cxnSp>
          <p:nvCxnSpPr>
            <p:cNvPr id="10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1" name="AutoShape 250" hidden="1"/>
            <p:cNvSpPr>
              <a:spLocks noChangeArrowheads="1"/>
            </p:cNvSpPr>
            <p:nvPr/>
          </p:nvSpPr>
          <p:spPr bwMode="auto">
            <a:xfrm>
              <a:off x="915" y="689"/>
              <a:ext cx="2686" cy="3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9197" anchor="b">
              <a:spAutoFit/>
            </a:bodyPr>
            <a:lstStyle/>
            <a:p>
              <a:pPr defTabSz="912013">
                <a:defRPr/>
              </a:pPr>
              <a:r>
                <a:rPr lang="en-GB" sz="1700" b="1" dirty="0" err="1"/>
                <a:t>Название</a:t>
              </a:r>
              <a:r>
                <a:rPr lang="en-GB" sz="1700" b="1" dirty="0"/>
                <a:t> </a:t>
              </a:r>
              <a:r>
                <a:rPr lang="en-GB" sz="1700" b="1" dirty="0" err="1"/>
                <a:t>документа</a:t>
              </a:r>
              <a:endParaRPr lang="en-GB" sz="1700" b="1" dirty="0"/>
            </a:p>
            <a:p>
              <a:pPr defTabSz="912013">
                <a:defRPr/>
              </a:pPr>
              <a:r>
                <a:rPr lang="en-GB" sz="17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2" name="Rectangle 280" hidden="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084" y="6245383"/>
            <a:ext cx="2134455" cy="476140"/>
          </a:xfrm>
        </p:spPr>
        <p:txBody>
          <a:bodyPr/>
          <a:lstStyle>
            <a:lvl1pPr>
              <a:defRPr/>
            </a:lvl1pPr>
          </a:lstStyle>
          <a:p>
            <a:fld id="{781D4639-9814-45A4-9FE8-D94BC6B00771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232432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80" hidden="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28439D7-C005-4F52-9301-DC6B02F919AC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9886080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633" y="4407473"/>
            <a:ext cx="7771417" cy="1361760"/>
          </a:xfrm>
        </p:spPr>
        <p:txBody>
          <a:bodyPr/>
          <a:lstStyle>
            <a:lvl1pPr algn="l">
              <a:defRPr sz="38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633" y="2906104"/>
            <a:ext cx="7771417" cy="1501427"/>
          </a:xfrm>
        </p:spPr>
        <p:txBody>
          <a:bodyPr anchor="b"/>
          <a:lstStyle>
            <a:lvl1pPr marL="0" indent="0">
              <a:buNone/>
              <a:defRPr sz="1900"/>
            </a:lvl1pPr>
            <a:lvl2pPr marL="434156" indent="0">
              <a:buNone/>
              <a:defRPr sz="1700"/>
            </a:lvl2pPr>
            <a:lvl3pPr marL="868307" indent="0">
              <a:buNone/>
              <a:defRPr sz="1600"/>
            </a:lvl3pPr>
            <a:lvl4pPr marL="1302458" indent="0">
              <a:buNone/>
              <a:defRPr sz="1300"/>
            </a:lvl4pPr>
            <a:lvl5pPr marL="1736613" indent="0">
              <a:buNone/>
              <a:defRPr sz="1300"/>
            </a:lvl5pPr>
            <a:lvl6pPr marL="2170752" indent="0">
              <a:buNone/>
              <a:defRPr sz="1300"/>
            </a:lvl6pPr>
            <a:lvl7pPr marL="2604900" indent="0">
              <a:buNone/>
              <a:defRPr sz="1300"/>
            </a:lvl7pPr>
            <a:lvl8pPr marL="3039049" indent="0">
              <a:buNone/>
              <a:defRPr sz="1300"/>
            </a:lvl8pPr>
            <a:lvl9pPr marL="3473198" indent="0">
              <a:buNone/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80" hidden="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A47F52-288F-42B0-A0B8-46F8278F0E50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380352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B5B35A-683C-4C6D-9624-7EF1DF4AF350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449121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0826" y="1315798"/>
            <a:ext cx="4063328" cy="5018513"/>
          </a:xfrm>
        </p:spPr>
        <p:txBody>
          <a:bodyPr/>
          <a:lstStyle>
            <a:lvl1pPr>
              <a:defRPr sz="2600"/>
            </a:lvl1pPr>
            <a:lvl2pPr>
              <a:defRPr sz="23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9284" y="1315798"/>
            <a:ext cx="4064840" cy="5018513"/>
          </a:xfrm>
        </p:spPr>
        <p:txBody>
          <a:bodyPr/>
          <a:lstStyle>
            <a:lvl1pPr>
              <a:defRPr sz="2600"/>
            </a:lvl1pPr>
            <a:lvl2pPr>
              <a:defRPr sz="23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280" hidden="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38DC985-AD15-4A21-8916-AE27A2D0907C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7498417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522" y="333308"/>
            <a:ext cx="8230960" cy="575936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525" y="1534759"/>
            <a:ext cx="4040653" cy="639614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34156" indent="0">
              <a:buNone/>
              <a:defRPr sz="1900" b="1"/>
            </a:lvl2pPr>
            <a:lvl3pPr marL="868307" indent="0">
              <a:buNone/>
              <a:defRPr sz="1700" b="1"/>
            </a:lvl3pPr>
            <a:lvl4pPr marL="1302458" indent="0">
              <a:buNone/>
              <a:defRPr sz="1600" b="1"/>
            </a:lvl4pPr>
            <a:lvl5pPr marL="1736613" indent="0">
              <a:buNone/>
              <a:defRPr sz="1600" b="1"/>
            </a:lvl5pPr>
            <a:lvl6pPr marL="2170752" indent="0">
              <a:buNone/>
              <a:defRPr sz="1600" b="1"/>
            </a:lvl6pPr>
            <a:lvl7pPr marL="2604900" indent="0">
              <a:buNone/>
              <a:defRPr sz="1600" b="1"/>
            </a:lvl7pPr>
            <a:lvl8pPr marL="3039049" indent="0">
              <a:buNone/>
              <a:defRPr sz="1600" b="1"/>
            </a:lvl8pPr>
            <a:lvl9pPr marL="347319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525" y="2174373"/>
            <a:ext cx="4040653" cy="3951960"/>
          </a:xfrm>
        </p:spPr>
        <p:txBody>
          <a:bodyPr/>
          <a:lstStyle>
            <a:lvl1pPr>
              <a:defRPr sz="2300"/>
            </a:lvl1pPr>
            <a:lvl2pPr>
              <a:defRPr sz="1900"/>
            </a:lvl2pPr>
            <a:lvl3pPr>
              <a:defRPr sz="17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320" y="1534759"/>
            <a:ext cx="4042165" cy="639614"/>
          </a:xfrm>
        </p:spPr>
        <p:txBody>
          <a:bodyPr anchor="b"/>
          <a:lstStyle>
            <a:lvl1pPr marL="0" indent="0">
              <a:buNone/>
              <a:defRPr sz="2300" b="1"/>
            </a:lvl1pPr>
            <a:lvl2pPr marL="434156" indent="0">
              <a:buNone/>
              <a:defRPr sz="1900" b="1"/>
            </a:lvl2pPr>
            <a:lvl3pPr marL="868307" indent="0">
              <a:buNone/>
              <a:defRPr sz="1700" b="1"/>
            </a:lvl3pPr>
            <a:lvl4pPr marL="1302458" indent="0">
              <a:buNone/>
              <a:defRPr sz="1600" b="1"/>
            </a:lvl4pPr>
            <a:lvl5pPr marL="1736613" indent="0">
              <a:buNone/>
              <a:defRPr sz="1600" b="1"/>
            </a:lvl5pPr>
            <a:lvl6pPr marL="2170752" indent="0">
              <a:buNone/>
              <a:defRPr sz="1600" b="1"/>
            </a:lvl6pPr>
            <a:lvl7pPr marL="2604900" indent="0">
              <a:buNone/>
              <a:defRPr sz="1600" b="1"/>
            </a:lvl7pPr>
            <a:lvl8pPr marL="3039049" indent="0">
              <a:buNone/>
              <a:defRPr sz="1600" b="1"/>
            </a:lvl8pPr>
            <a:lvl9pPr marL="347319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320" y="2174373"/>
            <a:ext cx="4042165" cy="3951960"/>
          </a:xfrm>
        </p:spPr>
        <p:txBody>
          <a:bodyPr/>
          <a:lstStyle>
            <a:lvl1pPr>
              <a:defRPr sz="2300"/>
            </a:lvl1pPr>
            <a:lvl2pPr>
              <a:defRPr sz="1900"/>
            </a:lvl2pPr>
            <a:lvl3pPr>
              <a:defRPr sz="17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280" hidden="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E0C5921-22F1-48C9-BDB0-C80A31BCE7D9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9314991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280" hidden="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511FAA7-80B3-4093-A33B-3286D9232E2D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1645308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 hidden="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8F40F2-DC57-49C4-B9B5-6E6C96C49818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8473145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581" y="272989"/>
            <a:ext cx="3009705" cy="1161781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99" y="272988"/>
            <a:ext cx="5112416" cy="5853345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3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581" y="1434769"/>
            <a:ext cx="3009705" cy="4691564"/>
          </a:xfrm>
        </p:spPr>
        <p:txBody>
          <a:bodyPr/>
          <a:lstStyle>
            <a:lvl1pPr marL="0" indent="0">
              <a:buNone/>
              <a:defRPr sz="1300"/>
            </a:lvl1pPr>
            <a:lvl2pPr marL="434156" indent="0">
              <a:buNone/>
              <a:defRPr sz="1100"/>
            </a:lvl2pPr>
            <a:lvl3pPr marL="868307" indent="0">
              <a:buNone/>
              <a:defRPr sz="800"/>
            </a:lvl3pPr>
            <a:lvl4pPr marL="1302458" indent="0">
              <a:buNone/>
              <a:defRPr sz="800"/>
            </a:lvl4pPr>
            <a:lvl5pPr marL="1736613" indent="0">
              <a:buNone/>
              <a:defRPr sz="800"/>
            </a:lvl5pPr>
            <a:lvl6pPr marL="2170752" indent="0">
              <a:buNone/>
              <a:defRPr sz="800"/>
            </a:lvl6pPr>
            <a:lvl7pPr marL="2604900" indent="0">
              <a:buNone/>
              <a:defRPr sz="800"/>
            </a:lvl7pPr>
            <a:lvl8pPr marL="3039049" indent="0">
              <a:buNone/>
              <a:defRPr sz="800"/>
            </a:lvl8pPr>
            <a:lvl9pPr marL="3473198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80" hidden="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9778A74-61B0-48C2-A87C-3D3147AEFC66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136603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858" y="4801078"/>
            <a:ext cx="5485794" cy="566606"/>
          </a:xfrm>
        </p:spPr>
        <p:txBody>
          <a:bodyPr anchor="b"/>
          <a:lstStyle>
            <a:lvl1pPr algn="l">
              <a:defRPr sz="19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858" y="612694"/>
            <a:ext cx="5485794" cy="4115435"/>
          </a:xfrm>
        </p:spPr>
        <p:txBody>
          <a:bodyPr/>
          <a:lstStyle>
            <a:lvl1pPr marL="0" indent="0">
              <a:buNone/>
              <a:defRPr sz="3000"/>
            </a:lvl1pPr>
            <a:lvl2pPr marL="434156" indent="0">
              <a:buNone/>
              <a:defRPr sz="2600"/>
            </a:lvl2pPr>
            <a:lvl3pPr marL="868307" indent="0">
              <a:buNone/>
              <a:defRPr sz="2300"/>
            </a:lvl3pPr>
            <a:lvl4pPr marL="1302458" indent="0">
              <a:buNone/>
              <a:defRPr sz="1900"/>
            </a:lvl4pPr>
            <a:lvl5pPr marL="1736613" indent="0">
              <a:buNone/>
              <a:defRPr sz="1900"/>
            </a:lvl5pPr>
            <a:lvl6pPr marL="2170752" indent="0">
              <a:buNone/>
              <a:defRPr sz="1900"/>
            </a:lvl6pPr>
            <a:lvl7pPr marL="2604900" indent="0">
              <a:buNone/>
              <a:defRPr sz="1900"/>
            </a:lvl7pPr>
            <a:lvl8pPr marL="3039049" indent="0">
              <a:buNone/>
              <a:defRPr sz="1900"/>
            </a:lvl8pPr>
            <a:lvl9pPr marL="3473198" indent="0">
              <a:buNone/>
              <a:defRPr sz="19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858" y="5367688"/>
            <a:ext cx="5485794" cy="804677"/>
          </a:xfrm>
        </p:spPr>
        <p:txBody>
          <a:bodyPr/>
          <a:lstStyle>
            <a:lvl1pPr marL="0" indent="0">
              <a:buNone/>
              <a:defRPr sz="1300"/>
            </a:lvl1pPr>
            <a:lvl2pPr marL="434156" indent="0">
              <a:buNone/>
              <a:defRPr sz="1100"/>
            </a:lvl2pPr>
            <a:lvl3pPr marL="868307" indent="0">
              <a:buNone/>
              <a:defRPr sz="800"/>
            </a:lvl3pPr>
            <a:lvl4pPr marL="1302458" indent="0">
              <a:buNone/>
              <a:defRPr sz="800"/>
            </a:lvl4pPr>
            <a:lvl5pPr marL="1736613" indent="0">
              <a:buNone/>
              <a:defRPr sz="800"/>
            </a:lvl5pPr>
            <a:lvl6pPr marL="2170752" indent="0">
              <a:buNone/>
              <a:defRPr sz="800"/>
            </a:lvl6pPr>
            <a:lvl7pPr marL="2604900" indent="0">
              <a:buNone/>
              <a:defRPr sz="800"/>
            </a:lvl7pPr>
            <a:lvl8pPr marL="3039049" indent="0">
              <a:buNone/>
              <a:defRPr sz="800"/>
            </a:lvl8pPr>
            <a:lvl9pPr marL="3473198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80" hidden="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389D18-FA64-4FA4-9C2E-B46799D05473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9181764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80" hidden="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DAA3544-DCCF-4D20-B7EB-69863BEA29E7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3309242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36165" y="384100"/>
            <a:ext cx="2067944" cy="595016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0880" y="384100"/>
            <a:ext cx="6060224" cy="595016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280" hidden="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3F2B9AB-7F51-47A9-A5FE-FBCD7005DB95}" type="slidenum">
              <a:rPr lang="en-US">
                <a:solidFill>
                  <a:srgbClr val="000000"/>
                </a:solidFill>
              </a:rPr>
              <a:pPr/>
              <a:t>‹#›</a:t>
            </a:fld>
            <a:r>
              <a:rPr lang="en-US">
                <a:solidFill>
                  <a:srgbClr val="0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0568951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70594" y="2139938"/>
            <a:ext cx="6259287" cy="492443"/>
          </a:xfrm>
          <a:prstGeom prst="rect">
            <a:avLst/>
          </a:prstGeom>
        </p:spPr>
        <p:txBody>
          <a:bodyPr anchor="ctr" anchorCtr="0"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-1620" y="835205"/>
            <a:ext cx="9145619" cy="46648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2" tIns="46646" rIns="93292" bIns="46646" rtlCol="0" anchor="ctr"/>
          <a:lstStyle/>
          <a:p>
            <a:pPr algn="ctr"/>
            <a:endParaRPr lang="ru-RU" sz="1700" dirty="0" err="1" smtClean="0">
              <a:solidFill>
                <a:srgbClr val="000000"/>
              </a:solidFill>
            </a:endParaRPr>
          </a:p>
        </p:txBody>
      </p:sp>
      <p:pic>
        <p:nvPicPr>
          <p:cNvPr id="36" name="Picture 7" descr="Screen Shot 2013-12-24 at 12.16.45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4901" y="169393"/>
            <a:ext cx="1985021" cy="637214"/>
          </a:xfrm>
          <a:prstGeom prst="rect">
            <a:avLst/>
          </a:prstGeom>
        </p:spPr>
      </p:pic>
      <p:grpSp>
        <p:nvGrpSpPr>
          <p:cNvPr id="2" name="Группа 1"/>
          <p:cNvGrpSpPr/>
          <p:nvPr userDrawn="1"/>
        </p:nvGrpSpPr>
        <p:grpSpPr>
          <a:xfrm>
            <a:off x="-9158" y="4884406"/>
            <a:ext cx="9175002" cy="2156737"/>
            <a:chOff x="-8976" y="4787170"/>
            <a:chExt cx="8991821" cy="2113802"/>
          </a:xfrm>
        </p:grpSpPr>
        <p:pic>
          <p:nvPicPr>
            <p:cNvPr id="43" name="Picture 2"/>
            <p:cNvPicPr>
              <a:picLocks noChangeAspect="1" noChangeArrowheads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-1" y="4787170"/>
              <a:ext cx="8961439" cy="1841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4" name="Группа 43"/>
            <p:cNvGrpSpPr/>
            <p:nvPr userDrawn="1"/>
          </p:nvGrpSpPr>
          <p:grpSpPr>
            <a:xfrm>
              <a:off x="-8976" y="5750183"/>
              <a:ext cx="8991821" cy="1150789"/>
              <a:chOff x="-8976" y="5750183"/>
              <a:chExt cx="8991821" cy="1150789"/>
            </a:xfrm>
          </p:grpSpPr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 rot="21401812">
                <a:off x="3021" y="6317320"/>
                <a:ext cx="5333974" cy="583652"/>
              </a:xfrm>
              <a:custGeom>
                <a:avLst/>
                <a:gdLst/>
                <a:ahLst/>
                <a:cxnLst/>
                <a:rect l="l" t="t" r="r" b="b"/>
                <a:pathLst>
                  <a:path w="5333974" h="583652">
                    <a:moveTo>
                      <a:pt x="5276645" y="572390"/>
                    </a:moveTo>
                    <a:cubicBezTo>
                      <a:pt x="5295731" y="576282"/>
                      <a:pt x="5314854" y="579973"/>
                      <a:pt x="5333974" y="583652"/>
                    </a:cubicBezTo>
                    <a:lnTo>
                      <a:pt x="5276180" y="580462"/>
                    </a:lnTo>
                    <a:close/>
                    <a:moveTo>
                      <a:pt x="2002421" y="7710"/>
                    </a:moveTo>
                    <a:cubicBezTo>
                      <a:pt x="2746081" y="41292"/>
                      <a:pt x="3941635" y="311324"/>
                      <a:pt x="5151013" y="547708"/>
                    </a:cubicBezTo>
                    <a:lnTo>
                      <a:pt x="3682725" y="462967"/>
                    </a:lnTo>
                    <a:lnTo>
                      <a:pt x="3682598" y="465178"/>
                    </a:lnTo>
                    <a:cubicBezTo>
                      <a:pt x="2972445" y="364324"/>
                      <a:pt x="2335517" y="281380"/>
                      <a:pt x="1880469" y="260831"/>
                    </a:cubicBezTo>
                    <a:cubicBezTo>
                      <a:pt x="1585660" y="247519"/>
                      <a:pt x="1283245" y="266577"/>
                      <a:pt x="989675" y="307538"/>
                    </a:cubicBezTo>
                    <a:lnTo>
                      <a:pt x="0" y="250419"/>
                    </a:lnTo>
                    <a:lnTo>
                      <a:pt x="4858" y="169923"/>
                    </a:lnTo>
                    <a:cubicBezTo>
                      <a:pt x="543116" y="59278"/>
                      <a:pt x="1231841" y="-26781"/>
                      <a:pt x="2002421" y="7710"/>
                    </a:cubicBezTo>
                    <a:close/>
                  </a:path>
                </a:pathLst>
              </a:custGeom>
              <a:solidFill>
                <a:srgbClr val="A7D0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700">
                  <a:latin typeface="Arial" charset="0"/>
                  <a:cs typeface="Arial" pitchFamily="34" charset="0"/>
                </a:endParaRPr>
              </a:p>
            </p:txBody>
          </p:sp>
          <p:grpSp>
            <p:nvGrpSpPr>
              <p:cNvPr id="46" name="Группа 45"/>
              <p:cNvGrpSpPr/>
              <p:nvPr/>
            </p:nvGrpSpPr>
            <p:grpSpPr>
              <a:xfrm>
                <a:off x="-8976" y="5750183"/>
                <a:ext cx="8991821" cy="1095217"/>
                <a:chOff x="-8976" y="5750183"/>
                <a:chExt cx="8991821" cy="1095217"/>
              </a:xfrm>
            </p:grpSpPr>
            <p:sp>
              <p:nvSpPr>
                <p:cNvPr id="47" name="Freeform 8"/>
                <p:cNvSpPr>
                  <a:spLocks/>
                </p:cNvSpPr>
                <p:nvPr/>
              </p:nvSpPr>
              <p:spPr bwMode="auto">
                <a:xfrm rot="21401812">
                  <a:off x="8766" y="5750183"/>
                  <a:ext cx="8974079" cy="9975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4079" h="997596">
                      <a:moveTo>
                        <a:pt x="8974079" y="256658"/>
                      </a:moveTo>
                      <a:lnTo>
                        <a:pt x="8969227" y="340728"/>
                      </a:lnTo>
                      <a:cubicBezTo>
                        <a:pt x="8564536" y="640458"/>
                        <a:pt x="7878802" y="997596"/>
                        <a:pt x="6912361" y="997596"/>
                      </a:cubicBezTo>
                      <a:cubicBezTo>
                        <a:pt x="5249207" y="997596"/>
                        <a:pt x="3171705" y="95150"/>
                        <a:pt x="1612138" y="95151"/>
                      </a:cubicBezTo>
                      <a:cubicBezTo>
                        <a:pt x="878567" y="95151"/>
                        <a:pt x="351898" y="189883"/>
                        <a:pt x="0" y="290901"/>
                      </a:cubicBezTo>
                      <a:lnTo>
                        <a:pt x="5097" y="206451"/>
                      </a:lnTo>
                      <a:cubicBezTo>
                        <a:pt x="356949" y="99692"/>
                        <a:pt x="882082" y="-1"/>
                        <a:pt x="1612138" y="0"/>
                      </a:cubicBezTo>
                      <a:cubicBezTo>
                        <a:pt x="3168828" y="0"/>
                        <a:pt x="5249207" y="961914"/>
                        <a:pt x="6912361" y="961913"/>
                      </a:cubicBezTo>
                      <a:cubicBezTo>
                        <a:pt x="7883088" y="961913"/>
                        <a:pt x="8570523" y="577496"/>
                        <a:pt x="8974079" y="256658"/>
                      </a:cubicBezTo>
                      <a:close/>
                    </a:path>
                  </a:pathLst>
                </a:custGeom>
                <a:solidFill>
                  <a:srgbClr val="CBDB2A"/>
                </a:solidFill>
                <a:ln w="12700">
                  <a:solidFill>
                    <a:srgbClr val="CBDB2A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700">
                    <a:latin typeface="Arial" charset="0"/>
                    <a:cs typeface="Arial" pitchFamily="34" charset="0"/>
                  </a:endParaRPr>
                </a:p>
              </p:txBody>
            </p:sp>
            <p:sp>
              <p:nvSpPr>
                <p:cNvPr id="48" name="Freeform 9"/>
                <p:cNvSpPr>
                  <a:spLocks/>
                </p:cNvSpPr>
                <p:nvPr/>
              </p:nvSpPr>
              <p:spPr bwMode="auto">
                <a:xfrm rot="21401812">
                  <a:off x="-8976" y="5845921"/>
                  <a:ext cx="8991280" cy="9561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6656" h="956109">
                      <a:moveTo>
                        <a:pt x="8976656" y="245543"/>
                      </a:moveTo>
                      <a:lnTo>
                        <a:pt x="8968839" y="380995"/>
                      </a:lnTo>
                      <a:cubicBezTo>
                        <a:pt x="8560462" y="647681"/>
                        <a:pt x="7881915" y="956109"/>
                        <a:pt x="6935009" y="956109"/>
                      </a:cubicBezTo>
                      <a:cubicBezTo>
                        <a:pt x="5268979" y="956109"/>
                        <a:pt x="3185721" y="144234"/>
                        <a:pt x="1623278" y="144234"/>
                      </a:cubicBezTo>
                      <a:cubicBezTo>
                        <a:pt x="882318" y="144234"/>
                        <a:pt x="352320" y="230846"/>
                        <a:pt x="0" y="322515"/>
                      </a:cubicBezTo>
                      <a:lnTo>
                        <a:pt x="7638" y="195957"/>
                      </a:lnTo>
                      <a:cubicBezTo>
                        <a:pt x="359537" y="94859"/>
                        <a:pt x="886396" y="0"/>
                        <a:pt x="1620399" y="0"/>
                      </a:cubicBezTo>
                      <a:cubicBezTo>
                        <a:pt x="3177089" y="0"/>
                        <a:pt x="5257469" y="902579"/>
                        <a:pt x="6920623" y="902579"/>
                      </a:cubicBezTo>
                      <a:cubicBezTo>
                        <a:pt x="7886613" y="902579"/>
                        <a:pt x="8572070" y="545423"/>
                        <a:pt x="8976656" y="245543"/>
                      </a:cubicBezTo>
                      <a:close/>
                    </a:path>
                  </a:pathLst>
                </a:custGeom>
                <a:solidFill>
                  <a:srgbClr val="6D9D3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700">
                    <a:latin typeface="Arial" charset="0"/>
                    <a:cs typeface="Arial" pitchFamily="34" charset="0"/>
                  </a:endParaRPr>
                </a:p>
              </p:txBody>
            </p:sp>
            <p:sp>
              <p:nvSpPr>
                <p:cNvPr id="49" name="Freeform 10"/>
                <p:cNvSpPr>
                  <a:spLocks/>
                </p:cNvSpPr>
                <p:nvPr/>
              </p:nvSpPr>
              <p:spPr bwMode="auto">
                <a:xfrm rot="21401812">
                  <a:off x="5052" y="5990568"/>
                  <a:ext cx="8964051" cy="854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5335" h="854832">
                      <a:moveTo>
                        <a:pt x="8975335" y="228107"/>
                      </a:moveTo>
                      <a:lnTo>
                        <a:pt x="8968669" y="343617"/>
                      </a:lnTo>
                      <a:cubicBezTo>
                        <a:pt x="8565323" y="579247"/>
                        <a:pt x="7907768" y="846431"/>
                        <a:pt x="6996356" y="854832"/>
                      </a:cubicBezTo>
                      <a:lnTo>
                        <a:pt x="6771421" y="842418"/>
                      </a:lnTo>
                      <a:lnTo>
                        <a:pt x="6160628" y="808709"/>
                      </a:lnTo>
                      <a:cubicBezTo>
                        <a:pt x="4658324" y="648621"/>
                        <a:pt x="2957691" y="118920"/>
                        <a:pt x="1633308" y="118921"/>
                      </a:cubicBezTo>
                      <a:cubicBezTo>
                        <a:pt x="885697" y="118921"/>
                        <a:pt x="352711" y="198599"/>
                        <a:pt x="0" y="282365"/>
                      </a:cubicBezTo>
                      <a:lnTo>
                        <a:pt x="6280" y="178326"/>
                      </a:lnTo>
                      <a:cubicBezTo>
                        <a:pt x="358237" y="86650"/>
                        <a:pt x="887657" y="1"/>
                        <a:pt x="1627553" y="0"/>
                      </a:cubicBezTo>
                      <a:cubicBezTo>
                        <a:pt x="3187184" y="1"/>
                        <a:pt x="5267650" y="811631"/>
                        <a:pt x="6930874" y="811631"/>
                      </a:cubicBezTo>
                      <a:cubicBezTo>
                        <a:pt x="7887631" y="811631"/>
                        <a:pt x="8569204" y="496328"/>
                        <a:pt x="8975335" y="228107"/>
                      </a:cubicBezTo>
                      <a:close/>
                    </a:path>
                  </a:pathLst>
                </a:custGeom>
                <a:solidFill>
                  <a:srgbClr val="8DC63F"/>
                </a:solidFill>
                <a:ln w="19050">
                  <a:solidFill>
                    <a:srgbClr val="8DC63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700">
                    <a:latin typeface="Arial" charset="0"/>
                    <a:cs typeface="Arial" pitchFamily="34" charset="0"/>
                  </a:endParaRPr>
                </a:p>
              </p:txBody>
            </p:sp>
          </p:grpSp>
        </p:grpSp>
      </p:grpSp>
      <p:pic>
        <p:nvPicPr>
          <p:cNvPr id="50" name="Picture 2"/>
          <p:cNvPicPr>
            <a:picLocks noChangeAspect="1" noChangeArrowheads="1"/>
          </p:cNvPicPr>
          <p:nvPr userDrawn="1"/>
        </p:nvPicPr>
        <p:blipFill rotWithShape="1">
          <a:blip r:embed="rId4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341360" y="3255688"/>
            <a:ext cx="4802640" cy="3107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70594" y="3698325"/>
            <a:ext cx="5909556" cy="266571"/>
          </a:xfrm>
        </p:spPr>
        <p:txBody>
          <a:bodyPr wrap="square">
            <a:spAutoFit/>
          </a:bodyPr>
          <a:lstStyle>
            <a:lvl1pPr>
              <a:defRPr sz="17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2927602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69" y="1718550"/>
            <a:ext cx="6331957" cy="1332853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6614571"/>
            <a:ext cx="8445848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6376149"/>
            <a:ext cx="8445848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89" y="497105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595609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1142708"/>
            <a:ext cx="3008044" cy="2923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4991" y="273745"/>
            <a:ext cx="5112217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45636" indent="0">
              <a:buNone/>
              <a:defRPr sz="1200"/>
            </a:lvl2pPr>
            <a:lvl3pPr marL="891389" indent="0">
              <a:buNone/>
              <a:defRPr sz="1000"/>
            </a:lvl3pPr>
            <a:lvl4pPr marL="1337098" indent="0">
              <a:buNone/>
              <a:defRPr sz="900"/>
            </a:lvl4pPr>
            <a:lvl5pPr marL="1782801" indent="0">
              <a:buNone/>
              <a:defRPr sz="900"/>
            </a:lvl5pPr>
            <a:lvl6pPr marL="2228495" indent="0">
              <a:buNone/>
              <a:defRPr sz="900"/>
            </a:lvl6pPr>
            <a:lvl7pPr marL="2674201" indent="0">
              <a:buNone/>
              <a:defRPr sz="900"/>
            </a:lvl7pPr>
            <a:lvl8pPr marL="3119898" indent="0">
              <a:buNone/>
              <a:defRPr sz="900"/>
            </a:lvl8pPr>
            <a:lvl9pPr marL="3565605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D6D5D4-AB63-4989-AD55-C5B02D156363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790947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0" y="958177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8234" y="573899"/>
            <a:ext cx="6428454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pic>
        <p:nvPicPr>
          <p:cNvPr id="5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3" y="184651"/>
            <a:ext cx="2152435" cy="597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8604449" y="6453350"/>
            <a:ext cx="539552" cy="307777"/>
          </a:xfrm>
          <a:prstGeom prst="rect">
            <a:avLst/>
          </a:prstGeom>
          <a:noFill/>
        </p:spPr>
        <p:txBody>
          <a:bodyPr wrap="square" lIns="91399" tIns="45703" rIns="91399" bIns="45703" rtlCol="0">
            <a:spAutoFit/>
          </a:bodyPr>
          <a:lstStyle>
            <a:defPPr>
              <a:defRPr lang="ru-RU"/>
            </a:defPPr>
            <a:lvl1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defTabSz="913997" fontAlgn="auto">
              <a:spcBef>
                <a:spcPts val="0"/>
              </a:spcBef>
              <a:spcAft>
                <a:spcPts val="0"/>
              </a:spcAft>
            </a:pPr>
            <a:fld id="{91AD4EB0-CEB3-4892-90AA-400FF97E5AC3}" type="slidenum">
              <a:rPr lang="ru-RU" smtClean="0"/>
              <a:pPr defTabSz="913997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8750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1545" y="5075462"/>
            <a:ext cx="5486400" cy="2923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1545" y="612265"/>
            <a:ext cx="54864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45636" indent="0">
              <a:buNone/>
              <a:defRPr sz="2900"/>
            </a:lvl2pPr>
            <a:lvl3pPr marL="891389" indent="0">
              <a:buNone/>
              <a:defRPr sz="2400"/>
            </a:lvl3pPr>
            <a:lvl4pPr marL="1337098" indent="0">
              <a:buNone/>
              <a:defRPr sz="2000"/>
            </a:lvl4pPr>
            <a:lvl5pPr marL="1782801" indent="0">
              <a:buNone/>
              <a:defRPr sz="2000"/>
            </a:lvl5pPr>
            <a:lvl6pPr marL="2228495" indent="0">
              <a:buNone/>
              <a:defRPr sz="2000"/>
            </a:lvl6pPr>
            <a:lvl7pPr marL="2674201" indent="0">
              <a:buNone/>
              <a:defRPr sz="2000"/>
            </a:lvl7pPr>
            <a:lvl8pPr marL="3119898" indent="0">
              <a:buNone/>
              <a:defRPr sz="2000"/>
            </a:lvl8pPr>
            <a:lvl9pPr marL="3565605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1545" y="5367838"/>
            <a:ext cx="54864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45636" indent="0">
              <a:buNone/>
              <a:defRPr sz="1200"/>
            </a:lvl2pPr>
            <a:lvl3pPr marL="891389" indent="0">
              <a:buNone/>
              <a:defRPr sz="1000"/>
            </a:lvl3pPr>
            <a:lvl4pPr marL="1337098" indent="0">
              <a:buNone/>
              <a:defRPr sz="900"/>
            </a:lvl4pPr>
            <a:lvl5pPr marL="1782801" indent="0">
              <a:buNone/>
              <a:defRPr sz="900"/>
            </a:lvl5pPr>
            <a:lvl6pPr marL="2228495" indent="0">
              <a:buNone/>
              <a:defRPr sz="900"/>
            </a:lvl6pPr>
            <a:lvl7pPr marL="2674201" indent="0">
              <a:buNone/>
              <a:defRPr sz="900"/>
            </a:lvl7pPr>
            <a:lvl8pPr marL="3119898" indent="0">
              <a:buNone/>
              <a:defRPr sz="900"/>
            </a:lvl8pPr>
            <a:lvl9pPr marL="3565605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72CB39-0E47-4FE1-91C9-3576BCD73E67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195306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tags" Target="../tags/tag6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29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tags" Target="../tags/tag5.xml"/><Relationship Id="rId25" Type="http://schemas.openxmlformats.org/officeDocument/2006/relationships/image" Target="../media/image7.png"/><Relationship Id="rId2" Type="http://schemas.openxmlformats.org/officeDocument/2006/relationships/slideLayout" Target="../slideLayouts/slideLayout28.xml"/><Relationship Id="rId16" Type="http://schemas.openxmlformats.org/officeDocument/2006/relationships/vmlDrawing" Target="../drawings/vmlDrawing2.v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oleObject" Target="../embeddings/oleObject3.bin"/><Relationship Id="rId5" Type="http://schemas.openxmlformats.org/officeDocument/2006/relationships/slideLayout" Target="../slideLayouts/slideLayout31.xml"/><Relationship Id="rId15" Type="http://schemas.openxmlformats.org/officeDocument/2006/relationships/theme" Target="../theme/theme3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36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tags" Target="../tags/tag10.xml"/><Relationship Id="rId27" Type="http://schemas.openxmlformats.org/officeDocument/2006/relationships/image" Target="../media/image8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heme" Target="../theme/theme4.xml"/><Relationship Id="rId18" Type="http://schemas.openxmlformats.org/officeDocument/2006/relationships/tags" Target="../tags/tag64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tags" Target="../tags/tag63.xml"/><Relationship Id="rId2" Type="http://schemas.openxmlformats.org/officeDocument/2006/relationships/slideLayout" Target="../slideLayouts/slideLayout42.xml"/><Relationship Id="rId16" Type="http://schemas.openxmlformats.org/officeDocument/2006/relationships/tags" Target="../tags/tag6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tags" Target="../tags/tag61.xml"/><Relationship Id="rId10" Type="http://schemas.openxmlformats.org/officeDocument/2006/relationships/slideLayout" Target="../slideLayouts/slideLayout50.xml"/><Relationship Id="rId19" Type="http://schemas.openxmlformats.org/officeDocument/2006/relationships/image" Target="../media/image9.png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tags" Target="../tags/tag6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tags" Target="../tags/tag7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tags" Target="../tags/tag69.xml"/><Relationship Id="rId17" Type="http://schemas.openxmlformats.org/officeDocument/2006/relationships/image" Target="../media/image9.png"/><Relationship Id="rId2" Type="http://schemas.openxmlformats.org/officeDocument/2006/relationships/slideLayout" Target="../slideLayouts/slideLayout54.xml"/><Relationship Id="rId16" Type="http://schemas.openxmlformats.org/officeDocument/2006/relationships/tags" Target="../tags/tag73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57.xml"/><Relationship Id="rId15" Type="http://schemas.openxmlformats.org/officeDocument/2006/relationships/tags" Target="../tags/tag72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tags" Target="../tags/tag7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oleObject" Target="../embeddings/oleObject41.bin"/><Relationship Id="rId3" Type="http://schemas.openxmlformats.org/officeDocument/2006/relationships/slideLayout" Target="../slideLayouts/slideLayout65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vmlDrawing" Target="../drawings/vmlDrawing15.vml"/><Relationship Id="rId11" Type="http://schemas.openxmlformats.org/officeDocument/2006/relationships/tags" Target="../tags/tag82.xml"/><Relationship Id="rId5" Type="http://schemas.openxmlformats.org/officeDocument/2006/relationships/theme" Target="../theme/theme6.xml"/><Relationship Id="rId15" Type="http://schemas.openxmlformats.org/officeDocument/2006/relationships/image" Target="../media/image9.png"/><Relationship Id="rId10" Type="http://schemas.openxmlformats.org/officeDocument/2006/relationships/tags" Target="../tags/tag81.xml"/><Relationship Id="rId4" Type="http://schemas.openxmlformats.org/officeDocument/2006/relationships/slideLayout" Target="../slideLayouts/slideLayout66.xml"/><Relationship Id="rId9" Type="http://schemas.openxmlformats.org/officeDocument/2006/relationships/tags" Target="../tags/tag80.xml"/><Relationship Id="rId14" Type="http://schemas.openxmlformats.org/officeDocument/2006/relationships/image" Target="../media/image22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image" Target="../media/image22.emf"/><Relationship Id="rId3" Type="http://schemas.openxmlformats.org/officeDocument/2006/relationships/slideLayout" Target="../slideLayouts/slideLayout80.xml"/><Relationship Id="rId7" Type="http://schemas.openxmlformats.org/officeDocument/2006/relationships/tags" Target="../tags/tag86.xml"/><Relationship Id="rId12" Type="http://schemas.openxmlformats.org/officeDocument/2006/relationships/oleObject" Target="../embeddings/oleObject42.bin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5" Type="http://schemas.openxmlformats.org/officeDocument/2006/relationships/vmlDrawing" Target="../drawings/vmlDrawing16.vml"/><Relationship Id="rId10" Type="http://schemas.openxmlformats.org/officeDocument/2006/relationships/tags" Target="../tags/tag89.xml"/><Relationship Id="rId4" Type="http://schemas.openxmlformats.org/officeDocument/2006/relationships/theme" Target="../theme/theme8.xml"/><Relationship Id="rId9" Type="http://schemas.openxmlformats.org/officeDocument/2006/relationships/tags" Target="../tags/tag88.xml"/><Relationship Id="rId14" Type="http://schemas.openxmlformats.org/officeDocument/2006/relationships/image" Target="../media/image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913904" y="381470"/>
            <a:ext cx="6066431" cy="277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zh-CN" smtClean="0"/>
              <a:t>Click to edit Master title style</a:t>
            </a:r>
          </a:p>
        </p:txBody>
      </p:sp>
      <p:sp>
        <p:nvSpPr>
          <p:cNvPr id="1027" name="McK 1. On-page tracker" hidden="1"/>
          <p:cNvSpPr>
            <a:spLocks noChangeArrowheads="1"/>
          </p:cNvSpPr>
          <p:nvPr/>
        </p:nvSpPr>
        <p:spPr bwMode="auto">
          <a:xfrm>
            <a:off x="121930" y="3242"/>
            <a:ext cx="61234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84194"/>
            <a:r>
              <a:rPr lang="ru-RU" sz="10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792056"/>
            <a:ext cx="3730492" cy="222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ru-RU" sz="14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29" name="McK Slide Elements"/>
          <p:cNvGrpSpPr>
            <a:grpSpLocks/>
          </p:cNvGrpSpPr>
          <p:nvPr/>
        </p:nvGrpSpPr>
        <p:grpSpPr bwMode="auto">
          <a:xfrm>
            <a:off x="121489" y="6265194"/>
            <a:ext cx="8722840" cy="432474"/>
            <a:chOff x="75" y="3868"/>
            <a:chExt cx="5385" cy="267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68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</a:rPr>
                <a:t>1 Сноска</a:t>
              </a:r>
            </a:p>
          </p:txBody>
        </p:sp>
        <p:sp>
          <p:nvSpPr>
            <p:cNvPr id="104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40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761410" indent="-761410" defTabSz="872823">
                <a:tabLst>
                  <a:tab pos="759866" algn="l"/>
                </a:tabLst>
              </a:pPr>
              <a:r>
                <a:rPr lang="ru-RU" sz="1000" dirty="0">
                  <a:latin typeface="Arial"/>
                </a:rPr>
                <a:t>ИСТОЧНИК: источник</a:t>
              </a:r>
            </a:p>
          </p:txBody>
        </p:sp>
      </p:grpSp>
      <p:grpSp>
        <p:nvGrpSpPr>
          <p:cNvPr id="1030" name="ACET" hidden="1"/>
          <p:cNvGrpSpPr>
            <a:grpSpLocks/>
          </p:cNvGrpSpPr>
          <p:nvPr/>
        </p:nvGrpSpPr>
        <p:grpSpPr bwMode="auto">
          <a:xfrm>
            <a:off x="1482167" y="1150019"/>
            <a:ext cx="4350892" cy="518318"/>
            <a:chOff x="915" y="710"/>
            <a:chExt cx="2686" cy="320"/>
          </a:xfrm>
        </p:grpSpPr>
        <p:cxnSp>
          <p:nvCxnSpPr>
            <p:cNvPr id="1041" name="AutoShape 249" hidden="1"/>
            <p:cNvCxnSpPr>
              <a:cxnSpLocks noChangeShapeType="1"/>
              <a:stCxn id="1042" idx="4"/>
              <a:endCxn id="104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42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84194"/>
              <a:r>
                <a:rPr lang="ru-RU" b="1" dirty="0">
                  <a:latin typeface="Arial"/>
                </a:rPr>
                <a:t>Название документа</a:t>
              </a:r>
            </a:p>
            <a:p>
              <a:pPr defTabSz="884194"/>
              <a:r>
                <a:rPr lang="ru-RU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09134" y="6598844"/>
            <a:ext cx="199241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0" smtClean="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defTabSz="884194">
              <a:defRPr/>
            </a:pPr>
            <a:fld id="{B3844F83-A5C1-4B68-9BBD-E8451CC676F7}" type="slidenum">
              <a:rPr lang="ru-RU" smtClean="0"/>
              <a:pPr defTabSz="884194"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  <p:sp>
        <p:nvSpPr>
          <p:cNvPr id="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990670"/>
            <a:ext cx="4389768" cy="1247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1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72823"/>
            <a:endParaRPr lang="ru-RU" sz="800" dirty="0">
              <a:latin typeface="Arial"/>
            </a:endParaRPr>
          </a:p>
        </p:txBody>
      </p:sp>
      <p:pic>
        <p:nvPicPr>
          <p:cNvPr id="1034" name="Picture 338" descr="Сбербанк России. Всегда рядом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79909" y="93945"/>
            <a:ext cx="2070156" cy="513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5" name="Группа 14"/>
          <p:cNvGrpSpPr>
            <a:grpSpLocks/>
          </p:cNvGrpSpPr>
          <p:nvPr/>
        </p:nvGrpSpPr>
        <p:grpSpPr bwMode="auto">
          <a:xfrm>
            <a:off x="121489" y="701360"/>
            <a:ext cx="8973916" cy="43733"/>
            <a:chOff x="273050" y="888717"/>
            <a:chExt cx="9400377" cy="36000"/>
          </a:xfrm>
        </p:grpSpPr>
        <p:cxnSp>
          <p:nvCxnSpPr>
            <p:cNvPr id="8" name="Прямая соединительная линия 12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Прямоугольный треугольник 13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8419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036" name="Группа 15"/>
          <p:cNvGrpSpPr>
            <a:grpSpLocks/>
          </p:cNvGrpSpPr>
          <p:nvPr/>
        </p:nvGrpSpPr>
        <p:grpSpPr bwMode="auto">
          <a:xfrm>
            <a:off x="121489" y="6731660"/>
            <a:ext cx="8973916" cy="43734"/>
            <a:chOff x="273050" y="888717"/>
            <a:chExt cx="9400377" cy="36000"/>
          </a:xfrm>
        </p:grpSpPr>
        <p:cxnSp>
          <p:nvCxnSpPr>
            <p:cNvPr id="11" name="Прямая соединительная линия 16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Прямоугольный треугольник 17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88419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8442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0" r:id="rId1"/>
    <p:sldLayoutId id="2147484231" r:id="rId2"/>
    <p:sldLayoutId id="2147484232" r:id="rId3"/>
    <p:sldLayoutId id="2147484233" r:id="rId4"/>
    <p:sldLayoutId id="2147484234" r:id="rId5"/>
    <p:sldLayoutId id="2147484235" r:id="rId6"/>
    <p:sldLayoutId id="2147484236" r:id="rId7"/>
    <p:sldLayoutId id="2147484237" r:id="rId8"/>
    <p:sldLayoutId id="2147484238" r:id="rId9"/>
    <p:sldLayoutId id="2147484239" r:id="rId10"/>
    <p:sldLayoutId id="2147484240" r:id="rId11"/>
    <p:sldLayoutId id="2147484314" r:id="rId12"/>
    <p:sldLayoutId id="214748431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7282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+mj-lt"/>
          <a:ea typeface="+mj-ea"/>
          <a:cs typeface="+mj-cs"/>
        </a:defRPr>
      </a:lvl1pPr>
      <a:lvl2pPr algn="l" defTabSz="87282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2pPr>
      <a:lvl3pPr algn="l" defTabSz="87282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3pPr>
      <a:lvl4pPr algn="l" defTabSz="87282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4pPr>
      <a:lvl5pPr algn="l" defTabSz="872823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5pPr>
      <a:lvl6pPr marL="445636" algn="l" defTabSz="872823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6pPr>
      <a:lvl7pPr marL="891389" algn="l" defTabSz="872823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7pPr>
      <a:lvl8pPr marL="1337098" algn="l" defTabSz="872823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8pPr>
      <a:lvl9pPr marL="1782801" algn="l" defTabSz="872823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9pPr>
    </p:titleStyle>
    <p:bodyStyle>
      <a:lvl1pPr marL="334272" indent="-334272" algn="l" defTabSz="87282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88817" indent="-187268" algn="l" defTabSz="87282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45636" indent="-255356" algn="l" defTabSz="87282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598915" indent="-151646" algn="l" defTabSz="87282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27356" indent="-126909" algn="l" defTabSz="87282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173072" indent="-126909" algn="l" defTabSz="87282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18755" indent="-126909" algn="l" defTabSz="87282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064474" indent="-126909" algn="l" defTabSz="87282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10166" indent="-126909" algn="l" defTabSz="872823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91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5636" algn="l" defTabSz="891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1389" algn="l" defTabSz="891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37098" algn="l" defTabSz="891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2801" algn="l" defTabSz="891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28495" algn="l" defTabSz="891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4201" algn="l" defTabSz="891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9898" algn="l" defTabSz="891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5605" algn="l" defTabSz="8913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066" name="Picture 24" descr="LEFT_01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3" y="333375"/>
            <a:ext cx="646113" cy="619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8067" name="Picture 23" descr="LEFT_01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3" y="333375"/>
            <a:ext cx="646113" cy="619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806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57278" y="393700"/>
            <a:ext cx="5603875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8806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57265" y="1711328"/>
            <a:ext cx="7500937" cy="428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1" tIns="45717" rIns="91431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2054" name="Line 6"/>
          <p:cNvSpPr>
            <a:spLocks noChangeShapeType="1"/>
          </p:cNvSpPr>
          <p:nvPr/>
        </p:nvSpPr>
        <p:spPr bwMode="auto">
          <a:xfrm>
            <a:off x="1066800" y="1014413"/>
            <a:ext cx="7689850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  <a:extLst/>
        </p:spPr>
        <p:txBody>
          <a:bodyPr wrap="none" lIns="91431" tIns="45717" rIns="91431" bIns="45717" anchor="ctr"/>
          <a:lstStyle/>
          <a:p>
            <a:pPr>
              <a:defRPr/>
            </a:pPr>
            <a:endParaRPr lang="ru-RU" sz="1800">
              <a:cs typeface="Arial" pitchFamily="34" charset="0"/>
            </a:endParaRPr>
          </a:p>
        </p:txBody>
      </p:sp>
      <p:sp>
        <p:nvSpPr>
          <p:cNvPr id="2055" name="Line 9"/>
          <p:cNvSpPr>
            <a:spLocks noChangeShapeType="1"/>
          </p:cNvSpPr>
          <p:nvPr/>
        </p:nvSpPr>
        <p:spPr bwMode="auto">
          <a:xfrm>
            <a:off x="0" y="1014413"/>
            <a:ext cx="652463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  <a:extLst/>
        </p:spPr>
        <p:txBody>
          <a:bodyPr wrap="none" lIns="91431" tIns="45717" rIns="91431" bIns="45717" anchor="ctr"/>
          <a:lstStyle/>
          <a:p>
            <a:pPr>
              <a:defRPr/>
            </a:pPr>
            <a:endParaRPr lang="ru-RU" sz="1800">
              <a:cs typeface="Arial" pitchFamily="34" charset="0"/>
            </a:endParaRPr>
          </a:p>
        </p:txBody>
      </p:sp>
      <p:pic>
        <p:nvPicPr>
          <p:cNvPr id="88072" name="Picture 15" descr="logo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6919913" y="366716"/>
            <a:ext cx="1871662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88073" name="Group 13"/>
          <p:cNvGrpSpPr>
            <a:grpSpLocks/>
          </p:cNvGrpSpPr>
          <p:nvPr/>
        </p:nvGrpSpPr>
        <p:grpSpPr bwMode="auto">
          <a:xfrm>
            <a:off x="8096250" y="6242050"/>
            <a:ext cx="1047750" cy="241300"/>
            <a:chOff x="5100" y="3932"/>
            <a:chExt cx="660" cy="152"/>
          </a:xfrm>
        </p:grpSpPr>
        <p:sp>
          <p:nvSpPr>
            <p:cNvPr id="2059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>
              <a:noFill/>
            </a:ln>
            <a:extLst/>
          </p:spPr>
          <p:txBody>
            <a:bodyPr wrap="none" anchor="ctr"/>
            <a:lstStyle/>
            <a:p>
              <a:pPr eaLnBrk="0" hangingPunct="0">
                <a:defRPr/>
              </a:pPr>
              <a:endParaRPr lang="ru-RU" sz="2400">
                <a:ea typeface="ヒラギノ角ゴ Pro W3"/>
                <a:cs typeface="ヒラギノ角ゴ Pro W3"/>
              </a:endParaRPr>
            </a:p>
          </p:txBody>
        </p:sp>
        <p:sp>
          <p:nvSpPr>
            <p:cNvPr id="2060" name="Rectangle 11"/>
            <p:cNvSpPr>
              <a:spLocks noChangeArrowheads="1"/>
            </p:cNvSpPr>
            <p:nvPr userDrawn="1"/>
          </p:nvSpPr>
          <p:spPr bwMode="auto">
            <a:xfrm>
              <a:off x="5664" y="3932"/>
              <a:ext cx="96" cy="152"/>
            </a:xfrm>
            <a:prstGeom prst="rect">
              <a:avLst/>
            </a:prstGeom>
            <a:solidFill>
              <a:srgbClr val="7DC244"/>
            </a:solidFill>
            <a:ln>
              <a:noFill/>
            </a:ln>
            <a:effectLst/>
            <a:extLst/>
          </p:spPr>
          <p:txBody>
            <a:bodyPr wrap="none" lIns="0" tIns="0" rIns="0" bIns="0" anchor="ctr"/>
            <a:lstStyle/>
            <a:p>
              <a:pPr eaLnBrk="0" hangingPunct="0">
                <a:lnSpc>
                  <a:spcPct val="90000"/>
                </a:lnSpc>
                <a:defRPr/>
              </a:pPr>
              <a:endParaRPr lang="ru-RU" sz="1200">
                <a:solidFill>
                  <a:srgbClr val="FFFFFF"/>
                </a:solidFill>
                <a:latin typeface="Arial" charset="0"/>
                <a:ea typeface="Arial" charset="0"/>
                <a:cs typeface="Arial Unicode MS" charset="0"/>
              </a:endParaRPr>
            </a:p>
          </p:txBody>
        </p:sp>
      </p:grpSp>
      <p:sp>
        <p:nvSpPr>
          <p:cNvPr id="2058" name="Rectangle 19"/>
          <p:cNvSpPr>
            <a:spLocks noChangeArrowheads="1"/>
          </p:cNvSpPr>
          <p:nvPr/>
        </p:nvSpPr>
        <p:spPr bwMode="auto">
          <a:xfrm>
            <a:off x="8197850" y="6224591"/>
            <a:ext cx="641350" cy="228600"/>
          </a:xfrm>
          <a:prstGeom prst="rect">
            <a:avLst/>
          </a:prstGeom>
          <a:noFill/>
          <a:ln>
            <a:noFill/>
          </a:ln>
          <a:extLst/>
        </p:spPr>
        <p:txBody>
          <a:bodyPr lIns="91431" tIns="45717" rIns="91431" bIns="45717"/>
          <a:lstStyle/>
          <a:p>
            <a:pPr eaLnBrk="0" hangingPunct="0">
              <a:defRPr/>
            </a:pPr>
            <a:fld id="{B97C9868-2AFE-4FC1-B191-C7353318C3C7}" type="slidenum">
              <a:rPr lang="ru-RU" sz="1200" b="1">
                <a:solidFill>
                  <a:srgbClr val="FFFFFF"/>
                </a:solidFill>
                <a:ea typeface="ヒラギノ角ゴ Pro W3"/>
                <a:cs typeface="ヒラギノ角ゴ Pro W3"/>
              </a:rPr>
              <a:pPr eaLnBrk="0" hangingPunct="0">
                <a:defRPr/>
              </a:pPr>
              <a:t>‹#›</a:t>
            </a:fld>
            <a:endParaRPr lang="ru-RU" sz="1200">
              <a:solidFill>
                <a:srgbClr val="FFFFFF"/>
              </a:solidFill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325308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2" r:id="rId1"/>
    <p:sldLayoutId id="2147484243" r:id="rId2"/>
    <p:sldLayoutId id="2147484244" r:id="rId3"/>
    <p:sldLayoutId id="2147484245" r:id="rId4"/>
    <p:sldLayoutId id="2147484246" r:id="rId5"/>
    <p:sldLayoutId id="2147484247" r:id="rId6"/>
    <p:sldLayoutId id="2147484248" r:id="rId7"/>
    <p:sldLayoutId id="2147484249" r:id="rId8"/>
    <p:sldLayoutId id="2147484250" r:id="rId9"/>
    <p:sldLayoutId id="2147484251" r:id="rId10"/>
    <p:sldLayoutId id="2147484252" r:id="rId11"/>
    <p:sldLayoutId id="2147484316" r:id="rId12"/>
    <p:sldLayoutId id="2147484317" r:id="rId13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+mj-lt"/>
          <a:ea typeface="Arial" charset="0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  <a:ea typeface="Arial" charset="0"/>
          <a:cs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  <a:ea typeface="Arial" charset="0"/>
          <a:cs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  <a:ea typeface="Arial" charset="0"/>
          <a:cs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  <a:ea typeface="Arial" charset="0"/>
          <a:cs typeface="Arial" pitchFamily="34" charset="0"/>
        </a:defRPr>
      </a:lvl5pPr>
      <a:lvl6pPr marL="457157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</a:defRPr>
      </a:lvl6pPr>
      <a:lvl7pPr marL="914314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</a:defRPr>
      </a:lvl7pPr>
      <a:lvl8pPr marL="1371471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</a:defRPr>
      </a:lvl8pPr>
      <a:lvl9pPr marL="1828626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pitchFamily="34" charset="0"/>
        </a:defRPr>
      </a:lvl9pPr>
    </p:titleStyle>
    <p:bodyStyle>
      <a:lvl1pPr marL="342867" indent="-342867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kumimoji="1" sz="2800">
          <a:solidFill>
            <a:srgbClr val="00703C"/>
          </a:solidFill>
          <a:latin typeface="+mn-lt"/>
          <a:ea typeface="Arial" charset="0"/>
          <a:cs typeface="Arial" pitchFamily="34" charset="0"/>
        </a:defRPr>
      </a:lvl1pPr>
      <a:lvl2pPr marL="742880" indent="-285723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kumimoji="1" sz="2000">
          <a:solidFill>
            <a:srgbClr val="00703C"/>
          </a:solidFill>
          <a:latin typeface="+mn-lt"/>
          <a:ea typeface="Arial" charset="0"/>
          <a:cs typeface="Arial" pitchFamily="34" charset="0"/>
        </a:defRPr>
      </a:lvl2pPr>
      <a:lvl3pPr marL="1142892" indent="-228579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kumimoji="1" sz="2000">
          <a:solidFill>
            <a:srgbClr val="00703C"/>
          </a:solidFill>
          <a:latin typeface="+mn-lt"/>
          <a:ea typeface="Arial" charset="0"/>
          <a:cs typeface="Arial" pitchFamily="34" charset="0"/>
        </a:defRPr>
      </a:lvl3pPr>
      <a:lvl4pPr marL="1561953" indent="-228579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kumimoji="1" sz="2000">
          <a:solidFill>
            <a:srgbClr val="404040"/>
          </a:solidFill>
          <a:latin typeface="+mn-lt"/>
          <a:ea typeface="Arial" charset="0"/>
          <a:cs typeface="Arial" pitchFamily="34" charset="0"/>
        </a:defRPr>
      </a:lvl4pPr>
      <a:lvl5pPr marL="1981014" indent="-228579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»"/>
        <a:defRPr kumimoji="1" sz="2000">
          <a:solidFill>
            <a:srgbClr val="404040"/>
          </a:solidFill>
          <a:latin typeface="+mn-lt"/>
          <a:ea typeface="Arial" charset="0"/>
          <a:cs typeface="Arial" pitchFamily="34" charset="0"/>
        </a:defRPr>
      </a:lvl5pPr>
      <a:lvl6pPr marL="2438170" indent="-228579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</a:defRPr>
      </a:lvl6pPr>
      <a:lvl7pPr marL="2895327" indent="-228579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</a:defRPr>
      </a:lvl7pPr>
      <a:lvl8pPr marL="3352482" indent="-228579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</a:defRPr>
      </a:lvl8pPr>
      <a:lvl9pPr marL="3809643" indent="-228579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</a:defRPr>
      </a:lvl9pPr>
    </p:bodyStyle>
    <p:otherStyle>
      <a:defPPr>
        <a:defRPr lang="ru-RU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2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350841" y="3"/>
            <a:ext cx="6735762" cy="817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AU" altLang="ru-RU" smtClean="0"/>
              <a:t>Click to edit Master title style</a:t>
            </a:r>
          </a:p>
        </p:txBody>
      </p:sp>
      <p:sp>
        <p:nvSpPr>
          <p:cNvPr id="1027" name="Rectangle 6"/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350841" y="1268413"/>
            <a:ext cx="8662987" cy="1258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AU" altLang="ru-RU" smtClean="0"/>
              <a:t>Click to edit Master text styles</a:t>
            </a:r>
          </a:p>
          <a:p>
            <a:pPr lvl="1"/>
            <a:r>
              <a:rPr lang="en-AU" altLang="ru-RU" smtClean="0"/>
              <a:t>Second level</a:t>
            </a:r>
          </a:p>
          <a:p>
            <a:pPr lvl="2"/>
            <a:r>
              <a:rPr lang="en-AU" altLang="ru-RU" smtClean="0"/>
              <a:t>Third level</a:t>
            </a:r>
          </a:p>
          <a:p>
            <a:pPr lvl="3"/>
            <a:r>
              <a:rPr lang="en-AU" altLang="ru-RU" smtClean="0"/>
              <a:t>Fourth level</a:t>
            </a:r>
          </a:p>
          <a:p>
            <a:pPr lvl="4"/>
            <a:r>
              <a:rPr lang="en-AU" altLang="ru-RU" smtClean="0"/>
              <a:t>Fifth level</a:t>
            </a:r>
          </a:p>
        </p:txBody>
      </p:sp>
      <p:grpSp>
        <p:nvGrpSpPr>
          <p:cNvPr id="1028" name="McK Slide Elements"/>
          <p:cNvGrpSpPr>
            <a:grpSpLocks/>
          </p:cNvGrpSpPr>
          <p:nvPr/>
        </p:nvGrpSpPr>
        <p:grpSpPr bwMode="auto">
          <a:xfrm>
            <a:off x="128591" y="1055691"/>
            <a:ext cx="8332787" cy="5775325"/>
            <a:chOff x="81" y="665"/>
            <a:chExt cx="5249" cy="3638"/>
          </a:xfrm>
        </p:grpSpPr>
        <p:sp>
          <p:nvSpPr>
            <p:cNvPr id="50184" name="McK Measure" hidden="1"/>
            <p:cNvSpPr txBox="1">
              <a:spLocks noChangeArrowheads="1"/>
            </p:cNvSpPr>
            <p:nvPr userDrawn="1"/>
          </p:nvSpPr>
          <p:spPr bwMode="auto">
            <a:xfrm>
              <a:off x="221" y="665"/>
              <a:ext cx="5076" cy="15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912813"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dirty="0" smtClean="0">
                  <a:solidFill>
                    <a:srgbClr val="000000"/>
                  </a:solidFill>
                  <a:cs typeface="Tahoma" pitchFamily="34" charset="0"/>
                </a:rPr>
                <a:t>Unit of measure</a:t>
              </a:r>
            </a:p>
          </p:txBody>
        </p:sp>
        <p:sp>
          <p:nvSpPr>
            <p:cNvPr id="50185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81" y="4047"/>
              <a:ext cx="5249" cy="25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585788" indent="-585788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1052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2430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433513"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defTabSz="912813"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defTabSz="912813" fontAlgn="base">
                <a:spcBef>
                  <a:spcPct val="0"/>
                </a:spcBef>
                <a:spcAft>
                  <a:spcPct val="0"/>
                </a:spcAft>
                <a:tabLst>
                  <a:tab pos="544513" algn="r"/>
                </a:tabLs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	*	Footnote</a:t>
              </a:r>
            </a:p>
            <a:p>
              <a:pPr>
                <a:spcBef>
                  <a:spcPct val="20000"/>
                </a:spcBef>
                <a:defRPr/>
              </a:pPr>
              <a:r>
                <a:rPr lang="en-AU" sz="1200" dirty="0" smtClean="0">
                  <a:solidFill>
                    <a:srgbClr val="000000"/>
                  </a:solidFill>
                  <a:cs typeface="Tahoma" pitchFamily="34" charset="0"/>
                </a:rPr>
                <a:t>Source:		Source</a:t>
              </a:r>
            </a:p>
          </p:txBody>
        </p:sp>
      </p:grpSp>
      <p:sp>
        <p:nvSpPr>
          <p:cNvPr id="50186" name="Working Draft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 rot="5400000">
            <a:off x="8209333" y="2747040"/>
            <a:ext cx="1729641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600" dirty="0" smtClean="0">
                <a:solidFill>
                  <a:srgbClr val="000000"/>
                </a:solidFill>
                <a:cs typeface="Tahoma" pitchFamily="34" charset="0"/>
              </a:rPr>
              <a:t>Working Draft - Last Modified 03.02.2009 18:56:10</a:t>
            </a:r>
            <a:endParaRPr lang="en-AU" sz="6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50187" name="Printed" hidden="1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 rot="5400000">
            <a:off x="8586037" y="4291678"/>
            <a:ext cx="976229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466725" defTabSz="9334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933450" defTabSz="93345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400175" defTabSz="93345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865313" defTabSz="93345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3225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7797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2369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69411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AU" sz="600" dirty="0" smtClean="0">
                <a:solidFill>
                  <a:srgbClr val="000000"/>
                </a:solidFill>
                <a:cs typeface="Tahoma" pitchFamily="34" charset="0"/>
              </a:rPr>
              <a:t>Printed 18.07.2008 13:03:31</a:t>
            </a:r>
          </a:p>
        </p:txBody>
      </p:sp>
      <p:graphicFrame>
        <p:nvGraphicFramePr>
          <p:cNvPr id="1031" name="Rectangle 12" hidden="1"/>
          <p:cNvGraphicFramePr>
            <a:graphicFrameLocks/>
          </p:cNvGraphicFramePr>
          <p:nvPr>
            <p:custDataLst>
              <p:tags r:id="rId21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12" name="think-cell Slide" r:id="rId23" imgW="0" imgH="0" progId="TCLayout.ActiveDocument.1">
                  <p:embed/>
                </p:oleObj>
              </mc:Choice>
              <mc:Fallback>
                <p:oleObj name="think-cell Slide" r:id="rId2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191" name="Rectangle 1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31" tIns="45717" rIns="91431" bIns="45717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400">
                <a:latin typeface="Times New Roman" pitchFamily="18" charset="0"/>
                <a:cs typeface="Tahoma" pitchFamily="34" charset="0"/>
              </a:defRPr>
            </a:lvl1pPr>
          </a:lstStyle>
          <a:p>
            <a:pPr>
              <a:defRPr/>
            </a:pPr>
            <a:fld id="{22087663-464C-4DD5-AC1E-84FE3B383F1A}" type="datetime1">
              <a:rPr lang="ru-RU"/>
              <a:pPr>
                <a:defRPr/>
              </a:pPr>
              <a:t>14.03.2018</a:t>
            </a:fld>
            <a:endParaRPr lang="ru-RU" dirty="0"/>
          </a:p>
        </p:txBody>
      </p:sp>
      <p:sp>
        <p:nvSpPr>
          <p:cNvPr id="50192" name="Rectangle 1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31" tIns="45717" rIns="91431" bIns="45717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400">
                <a:latin typeface="Times New Roman" pitchFamily="18" charset="0"/>
                <a:cs typeface="Tahoma" pitchFamily="34" charset="0"/>
              </a:defRPr>
            </a:lvl1pPr>
          </a:lstStyle>
          <a:p>
            <a:pPr algn="ctr">
              <a:defRPr/>
            </a:pPr>
            <a:endParaRPr lang="ru-RU"/>
          </a:p>
        </p:txBody>
      </p:sp>
      <p:sp>
        <p:nvSpPr>
          <p:cNvPr id="50193" name="Rectangle 1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05803" y="6400800"/>
            <a:ext cx="809625" cy="3810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31" tIns="45717" rIns="91431" bIns="45717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buSzTx/>
              <a:buFontTx/>
              <a:buNone/>
              <a:defRPr sz="1200" i="0">
                <a:solidFill>
                  <a:srgbClr val="969696"/>
                </a:solidFill>
                <a:latin typeface="+mj-lt"/>
                <a:cs typeface="Tahoma" pitchFamily="34" charset="0"/>
              </a:defRPr>
            </a:lvl1pPr>
          </a:lstStyle>
          <a:p>
            <a:pPr>
              <a:defRPr/>
            </a:pPr>
            <a:endParaRPr lang="ru-RU"/>
          </a:p>
          <a:p>
            <a:pPr>
              <a:defRPr/>
            </a:pPr>
            <a:fld id="{CAD1834F-3A5C-4F8D-9616-BBD32E174C5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graphicFrame>
        <p:nvGraphicFramePr>
          <p:cNvPr id="1035" name="Object 21"/>
          <p:cNvGraphicFramePr>
            <a:graphicFrameLocks noChangeAspect="1"/>
          </p:cNvGraphicFramePr>
          <p:nvPr/>
        </p:nvGraphicFramePr>
        <p:xfrm>
          <a:off x="0" y="838203"/>
          <a:ext cx="9144000" cy="7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13" name="Фотография Photo Editor" r:id="rId24" imgW="14270442" imgH="142933" progId="MSPhotoEd.3">
                  <p:embed/>
                </p:oleObj>
              </mc:Choice>
              <mc:Fallback>
                <p:oleObj name="Фотография Photo Editor" r:id="rId24" imgW="14270442" imgH="1429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838203"/>
                        <a:ext cx="9144000" cy="76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3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0" y="908053"/>
            <a:ext cx="9144000" cy="73025"/>
          </a:xfrm>
          <a:prstGeom prst="rect">
            <a:avLst/>
          </a:prstGeom>
          <a:gradFill rotWithShape="1">
            <a:gsLst>
              <a:gs pos="0">
                <a:srgbClr val="89BA00"/>
              </a:gs>
              <a:gs pos="100000">
                <a:srgbClr val="008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1" tIns="45717" rIns="91431" bIns="45717" anchor="ctr"/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defTabSz="93345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000000"/>
              </a:solidFill>
              <a:cs typeface="Tahoma" pitchFamily="34" charset="0"/>
            </a:endParaRPr>
          </a:p>
        </p:txBody>
      </p:sp>
      <p:graphicFrame>
        <p:nvGraphicFramePr>
          <p:cNvPr id="1037" name="Object 24"/>
          <p:cNvGraphicFramePr>
            <a:graphicFrameLocks noChangeAspect="1"/>
          </p:cNvGraphicFramePr>
          <p:nvPr/>
        </p:nvGraphicFramePr>
        <p:xfrm>
          <a:off x="7185025" y="152400"/>
          <a:ext cx="1854200" cy="495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14" name="Фотография Photo Editor" r:id="rId26" imgW="4172532" imgH="1114581" progId="MSPhotoEd.3">
                  <p:embed/>
                </p:oleObj>
              </mc:Choice>
              <mc:Fallback>
                <p:oleObj name="Фотография Photo Editor" r:id="rId26" imgW="4172532" imgH="1114581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85025" y="152400"/>
                        <a:ext cx="1854200" cy="4953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085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4" r:id="rId1"/>
    <p:sldLayoutId id="2147484255" r:id="rId2"/>
    <p:sldLayoutId id="2147484256" r:id="rId3"/>
    <p:sldLayoutId id="2147484257" r:id="rId4"/>
    <p:sldLayoutId id="2147484258" r:id="rId5"/>
    <p:sldLayoutId id="2147484259" r:id="rId6"/>
    <p:sldLayoutId id="2147484260" r:id="rId7"/>
    <p:sldLayoutId id="2147484261" r:id="rId8"/>
    <p:sldLayoutId id="2147484262" r:id="rId9"/>
    <p:sldLayoutId id="2147484263" r:id="rId10"/>
    <p:sldLayoutId id="2147484264" r:id="rId11"/>
    <p:sldLayoutId id="2147484265" r:id="rId12"/>
    <p:sldLayoutId id="2147484318" r:id="rId13"/>
    <p:sldLayoutId id="2147484319" r:id="rId1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2728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2D7534"/>
          </a:solidFill>
          <a:latin typeface="+mj-lt"/>
          <a:ea typeface="+mj-ea"/>
          <a:cs typeface="+mj-cs"/>
        </a:defRPr>
      </a:lvl1pPr>
      <a:lvl2pPr algn="l" defTabSz="912728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2D7534"/>
          </a:solidFill>
          <a:latin typeface="Tahoma" pitchFamily="34" charset="0"/>
        </a:defRPr>
      </a:lvl2pPr>
      <a:lvl3pPr algn="l" defTabSz="912728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2D7534"/>
          </a:solidFill>
          <a:latin typeface="Tahoma" pitchFamily="34" charset="0"/>
        </a:defRPr>
      </a:lvl3pPr>
      <a:lvl4pPr algn="l" defTabSz="912728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2D7534"/>
          </a:solidFill>
          <a:latin typeface="Tahoma" pitchFamily="34" charset="0"/>
        </a:defRPr>
      </a:lvl4pPr>
      <a:lvl5pPr algn="l" defTabSz="912728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2D7534"/>
          </a:solidFill>
          <a:latin typeface="Tahoma" pitchFamily="34" charset="0"/>
        </a:defRPr>
      </a:lvl5pPr>
      <a:lvl6pPr marL="457157" algn="l" defTabSz="912728" rtl="0" fontAlgn="base">
        <a:spcBef>
          <a:spcPct val="0"/>
        </a:spcBef>
        <a:spcAft>
          <a:spcPct val="0"/>
        </a:spcAft>
        <a:defRPr sz="2100" b="1">
          <a:solidFill>
            <a:srgbClr val="2D7534"/>
          </a:solidFill>
          <a:latin typeface="Tahoma" pitchFamily="34" charset="0"/>
        </a:defRPr>
      </a:lvl6pPr>
      <a:lvl7pPr marL="914314" algn="l" defTabSz="912728" rtl="0" fontAlgn="base">
        <a:spcBef>
          <a:spcPct val="0"/>
        </a:spcBef>
        <a:spcAft>
          <a:spcPct val="0"/>
        </a:spcAft>
        <a:defRPr sz="2100" b="1">
          <a:solidFill>
            <a:srgbClr val="2D7534"/>
          </a:solidFill>
          <a:latin typeface="Tahoma" pitchFamily="34" charset="0"/>
        </a:defRPr>
      </a:lvl7pPr>
      <a:lvl8pPr marL="1371471" algn="l" defTabSz="912728" rtl="0" fontAlgn="base">
        <a:spcBef>
          <a:spcPct val="0"/>
        </a:spcBef>
        <a:spcAft>
          <a:spcPct val="0"/>
        </a:spcAft>
        <a:defRPr sz="2100" b="1">
          <a:solidFill>
            <a:srgbClr val="2D7534"/>
          </a:solidFill>
          <a:latin typeface="Tahoma" pitchFamily="34" charset="0"/>
        </a:defRPr>
      </a:lvl8pPr>
      <a:lvl9pPr marL="1828626" algn="l" defTabSz="912728" rtl="0" fontAlgn="base">
        <a:spcBef>
          <a:spcPct val="0"/>
        </a:spcBef>
        <a:spcAft>
          <a:spcPct val="0"/>
        </a:spcAft>
        <a:defRPr sz="2100" b="1">
          <a:solidFill>
            <a:srgbClr val="2D7534"/>
          </a:solidFill>
          <a:latin typeface="Tahoma" pitchFamily="34" charset="0"/>
        </a:defRPr>
      </a:lvl9pPr>
    </p:titleStyle>
    <p:bodyStyle>
      <a:lvl1pPr marL="342867" indent="-342867" algn="l" defTabSz="912728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7624" indent="-146036" algn="l" defTabSz="912728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301597" indent="-152386" algn="l" defTabSz="912728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41283" indent="-138100" algn="l" defTabSz="912728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93669" indent="-150799" algn="l" defTabSz="912728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50826" indent="-150799" algn="l" defTabSz="912728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507984" indent="-150799" algn="l" defTabSz="912728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65140" indent="-150799" algn="l" defTabSz="912728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22297" indent="-150799" algn="l" defTabSz="912728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2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auto">
          <a:xfrm>
            <a:off x="1482160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121497" y="194580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829"/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21496" y="86043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482160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829"/>
              <a:r>
                <a:rPr lang="ru-RU" b="1" dirty="0" smtClean="0">
                  <a:latin typeface="Arial"/>
                </a:rPr>
                <a:t>Title</a:t>
              </a:r>
            </a:p>
            <a:p>
              <a:pPr defTabSz="913829"/>
              <a:r>
                <a:rPr lang="ru-RU" dirty="0" smtClean="0">
                  <a:solidFill>
                    <a:srgbClr val="808080"/>
                  </a:solidFill>
                  <a:latin typeface="Arial"/>
                </a:rPr>
                <a:t>Unit of measure</a:t>
              </a:r>
              <a:endParaRPr lang="ru-RU" dirty="0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8852892" y="6648465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913829"/>
            <a:fld id="{42C328C1-A84F-4A39-A664-DBA00541A8C6}" type="slidenum">
              <a:rPr lang="en-US" smtClean="0"/>
              <a:pPr algn="ctr" defTabSz="913829"/>
              <a:t>‹#›</a:t>
            </a:fld>
            <a:endParaRPr lang="en-US" dirty="0"/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6299" y="36238"/>
            <a:ext cx="1856104" cy="595830"/>
          </a:xfrm>
          <a:prstGeom prst="rect">
            <a:avLst/>
          </a:prstGeom>
        </p:spPr>
      </p:pic>
      <p:sp>
        <p:nvSpPr>
          <p:cNvPr id="13" name="Прямоугольник 18"/>
          <p:cNvSpPr/>
          <p:nvPr/>
        </p:nvSpPr>
        <p:spPr>
          <a:xfrm>
            <a:off x="121494" y="696189"/>
            <a:ext cx="8886445" cy="46648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37" tIns="46619" rIns="93237" bIns="46619" rtlCol="0" anchor="ctr"/>
          <a:lstStyle/>
          <a:p>
            <a:pPr algn="ctr" defTabSz="913829"/>
            <a:endParaRPr lang="ru-RU" dirty="0" smtClean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7" r:id="rId1"/>
    <p:sldLayoutId id="2147484268" r:id="rId2"/>
    <p:sldLayoutId id="2147484269" r:id="rId3"/>
    <p:sldLayoutId id="2147484270" r:id="rId4"/>
    <p:sldLayoutId id="2147484271" r:id="rId5"/>
    <p:sldLayoutId id="2147484272" r:id="rId6"/>
    <p:sldLayoutId id="2147484273" r:id="rId7"/>
    <p:sldLayoutId id="2147484274" r:id="rId8"/>
    <p:sldLayoutId id="2147484275" r:id="rId9"/>
    <p:sldLayoutId id="2147484276" r:id="rId10"/>
    <p:sldLayoutId id="2147484277" r:id="rId11"/>
    <p:sldLayoutId id="2147484279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954" rtl="0" eaLnBrk="1" fontAlgn="base" hangingPunct="1">
        <a:spcBef>
          <a:spcPct val="0"/>
        </a:spcBef>
        <a:spcAft>
          <a:spcPct val="0"/>
        </a:spcAft>
        <a:tabLst>
          <a:tab pos="364211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91295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95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95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95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187" algn="l" defTabSz="91295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379" algn="l" defTabSz="91295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572" algn="l" defTabSz="91295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4762" algn="l" defTabSz="91295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95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485" indent="-195865" algn="l" defTabSz="912954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187" indent="-267089" algn="l" defTabSz="912954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444" indent="-158635" algn="l" defTabSz="912954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551" indent="-132735" algn="l" defTabSz="912954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551" indent="-132735" algn="l" defTabSz="9129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551" indent="-132735" algn="l" defTabSz="9129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551" indent="-132735" algn="l" defTabSz="9129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551" indent="-132735" algn="l" defTabSz="9129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87" algn="l" defTabSz="932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379" algn="l" defTabSz="932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572" algn="l" defTabSz="932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762" algn="l" defTabSz="932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952" algn="l" defTabSz="932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139" algn="l" defTabSz="932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330" algn="l" defTabSz="932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522" algn="l" defTabSz="932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1482160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121497" y="497111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21496" y="86043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482160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latin typeface="Arial" charset="0"/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  <a:latin typeface="Arial" charset="0"/>
                </a:rPr>
                <a:t>Unit of measure</a:t>
              </a:r>
              <a:endParaRPr lang="ru-RU" dirty="0">
                <a:solidFill>
                  <a:srgbClr val="808080"/>
                </a:solidFill>
                <a:latin typeface="Arial" charset="0"/>
              </a:endParaRP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8852892" y="6648465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/>
              <a:pPr algn="ctr"/>
              <a:t>‹#›</a:t>
            </a:fld>
            <a:endParaRPr lang="en-US" dirty="0"/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4903" y="169398"/>
            <a:ext cx="1985020" cy="637214"/>
          </a:xfrm>
          <a:prstGeom prst="rect">
            <a:avLst/>
          </a:prstGeom>
        </p:spPr>
      </p:pic>
      <p:sp>
        <p:nvSpPr>
          <p:cNvPr id="13" name="Прямоугольник 18"/>
          <p:cNvSpPr/>
          <p:nvPr/>
        </p:nvSpPr>
        <p:spPr>
          <a:xfrm>
            <a:off x="121494" y="835204"/>
            <a:ext cx="8886445" cy="46648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37" tIns="46619" rIns="93237" bIns="46619" rtlCol="0" anchor="ctr"/>
          <a:lstStyle/>
          <a:p>
            <a:pPr algn="ctr"/>
            <a:endParaRPr lang="ru-RU" dirty="0" err="1" smtClean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858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954" rtl="0" eaLnBrk="1" fontAlgn="base" hangingPunct="1">
        <a:spcBef>
          <a:spcPct val="0"/>
        </a:spcBef>
        <a:spcAft>
          <a:spcPct val="0"/>
        </a:spcAft>
        <a:tabLst>
          <a:tab pos="364211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91295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95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95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95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187" algn="l" defTabSz="91295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379" algn="l" defTabSz="91295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572" algn="l" defTabSz="91295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4762" algn="l" defTabSz="91295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95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485" indent="-195865" algn="l" defTabSz="912954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187" indent="-267089" algn="l" defTabSz="912954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444" indent="-158635" algn="l" defTabSz="912954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551" indent="-132735" algn="l" defTabSz="912954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551" indent="-132735" algn="l" defTabSz="9129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551" indent="-132735" algn="l" defTabSz="9129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551" indent="-132735" algn="l" defTabSz="9129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551" indent="-132735" algn="l" defTabSz="91295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87" algn="l" defTabSz="932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379" algn="l" defTabSz="932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572" algn="l" defTabSz="932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762" algn="l" defTabSz="932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952" algn="l" defTabSz="932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139" algn="l" defTabSz="932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330" algn="l" defTabSz="932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522" algn="l" defTabSz="9323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028835842"/>
              </p:ext>
            </p:extLst>
          </p:nvPr>
        </p:nvGraphicFramePr>
        <p:xfrm>
          <a:off x="1624" y="1624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118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624" y="1624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1482158" y="1990671"/>
            <a:ext cx="4389768" cy="1332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121492" y="497105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  <a:cs typeface="Arial" pitchFamily="34" charset="0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  <a:cs typeface="Arial" pitchFamily="34" charset="0"/>
            </a:endParaRP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1491" y="860434"/>
            <a:ext cx="8794114" cy="2665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700" dirty="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482158" y="1117627"/>
            <a:ext cx="4350892" cy="550713"/>
            <a:chOff x="915" y="690"/>
            <a:chExt cx="2686" cy="34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90"/>
              <a:ext cx="2686" cy="34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700" b="1" dirty="0" smtClean="0">
                  <a:latin typeface="Arial" charset="0"/>
                  <a:cs typeface="Arial" pitchFamily="34" charset="0"/>
                </a:rPr>
                <a:t>Title</a:t>
              </a:r>
            </a:p>
            <a:p>
              <a:r>
                <a:rPr lang="ru-RU" sz="1700" dirty="0" smtClean="0">
                  <a:solidFill>
                    <a:srgbClr val="808080"/>
                  </a:solidFill>
                  <a:latin typeface="Arial" charset="0"/>
                  <a:cs typeface="Arial" pitchFamily="34" charset="0"/>
                </a:rPr>
                <a:t>Unit of measure</a:t>
              </a:r>
              <a:endParaRPr lang="ru-RU" sz="1700" dirty="0">
                <a:solidFill>
                  <a:srgbClr val="808080"/>
                </a:solidFill>
                <a:latin typeface="Arial" charset="0"/>
                <a:cs typeface="Arial" pitchFamily="34" charset="0"/>
              </a:endParaRP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8852890" y="664846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cs typeface="Arial" pitchFamily="34" charset="0"/>
              </a:rPr>
              <a:pPr algn="ctr"/>
              <a:t>‹#›</a:t>
            </a:fld>
            <a:endParaRPr lang="en-US" dirty="0">
              <a:cs typeface="Arial" pitchFamily="34" charset="0"/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4904" y="169393"/>
            <a:ext cx="1985021" cy="637214"/>
          </a:xfrm>
          <a:prstGeom prst="rect">
            <a:avLst/>
          </a:prstGeom>
        </p:spPr>
      </p:pic>
      <p:sp>
        <p:nvSpPr>
          <p:cNvPr id="13" name="Прямоугольник 18"/>
          <p:cNvSpPr/>
          <p:nvPr/>
        </p:nvSpPr>
        <p:spPr>
          <a:xfrm>
            <a:off x="121492" y="835208"/>
            <a:ext cx="8886445" cy="46648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3" tIns="46641" rIns="93283" bIns="46641" rtlCol="0" anchor="ctr"/>
          <a:lstStyle/>
          <a:p>
            <a:pPr algn="ctr"/>
            <a:endParaRPr lang="ru-RU" sz="1700" dirty="0" err="1" smtClean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69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2" r:id="rId1"/>
    <p:sldLayoutId id="2147484293" r:id="rId2"/>
    <p:sldLayoutId id="2147484295" r:id="rId3"/>
    <p:sldLayoutId id="2147484324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393" rtl="0" eaLnBrk="1" fontAlgn="base" hangingPunct="1">
        <a:spcBef>
          <a:spcPct val="0"/>
        </a:spcBef>
        <a:spcAft>
          <a:spcPct val="0"/>
        </a:spcAft>
        <a:tabLst>
          <a:tab pos="364388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91339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39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39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39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14" algn="l" defTabSz="91339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27" algn="l" defTabSz="91339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41" algn="l" defTabSz="91339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653" algn="l" defTabSz="91339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39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197578" indent="-195959" algn="l" defTabSz="913393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700">
          <a:solidFill>
            <a:schemeClr val="tx1"/>
          </a:solidFill>
          <a:latin typeface="+mn-lt"/>
        </a:defRPr>
      </a:lvl2pPr>
      <a:lvl3pPr marL="466414" indent="-267217" algn="l" defTabSz="913393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700">
          <a:solidFill>
            <a:schemeClr val="tx1"/>
          </a:solidFill>
          <a:latin typeface="+mn-lt"/>
        </a:defRPr>
      </a:lvl3pPr>
      <a:lvl4pPr marL="626744" indent="-158710" algn="l" defTabSz="913393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700">
          <a:solidFill>
            <a:schemeClr val="tx1"/>
          </a:solidFill>
          <a:latin typeface="+mn-lt"/>
        </a:defRPr>
      </a:lvl4pPr>
      <a:lvl5pPr marL="764918" indent="-132798" algn="l" defTabSz="913393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5pPr>
      <a:lvl6pPr marL="764918" indent="-132798" algn="l" defTabSz="9133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764918" indent="-132798" algn="l" defTabSz="9133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764918" indent="-132798" algn="l" defTabSz="9133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764918" indent="-132798" algn="l" defTabSz="9133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14" algn="l" defTabSz="9328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27" algn="l" defTabSz="9328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41" algn="l" defTabSz="9328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653" algn="l" defTabSz="9328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069" algn="l" defTabSz="9328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482" algn="l" defTabSz="9328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895" algn="l" defTabSz="9328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309" algn="l" defTabSz="9328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433853" y="333313"/>
            <a:ext cx="6769190" cy="507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dirty="0" smtClean="0"/>
              <a:t>Click to edit Master title style</a:t>
            </a:r>
            <a:br>
              <a:rPr lang="en-US" altLang="zh-CN" dirty="0" smtClean="0"/>
            </a:br>
            <a:r>
              <a:rPr lang="en-US" altLang="zh-CN" dirty="0" err="1" smtClean="0"/>
              <a:t>dfdfdf</a:t>
            </a:r>
            <a:endParaRPr lang="en-US" altLang="zh-CN" dirty="0" smtClean="0"/>
          </a:p>
        </p:txBody>
      </p:sp>
      <p:sp>
        <p:nvSpPr>
          <p:cNvPr id="2051" name="McK 1. On-page tracker" hidden="1"/>
          <p:cNvSpPr>
            <a:spLocks noChangeArrowheads="1"/>
          </p:cNvSpPr>
          <p:nvPr/>
        </p:nvSpPr>
        <p:spPr bwMode="auto">
          <a:xfrm>
            <a:off x="120938" y="27024"/>
            <a:ext cx="85921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12013">
              <a:defRPr/>
            </a:pPr>
            <a:r>
              <a:rPr lang="en-GB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28" name="McK 3. Unit of measure" hidden="1"/>
          <p:cNvSpPr txBox="1">
            <a:spLocks noChangeArrowheads="1"/>
          </p:cNvSpPr>
          <p:nvPr/>
        </p:nvSpPr>
        <p:spPr bwMode="auto">
          <a:xfrm>
            <a:off x="120932" y="792038"/>
            <a:ext cx="3730764" cy="22214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algn="l" defTabSz="9398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79463" indent="-300038" algn="l" defTabSz="9398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200150" indent="-239713" algn="l" defTabSz="9398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79575" indent="-239713" algn="l" defTabSz="9398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159000" indent="-239713" algn="l" defTabSz="9398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616200" indent="-239713" defTabSz="939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73400" indent="-239713" defTabSz="939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530600" indent="-239713" defTabSz="939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87800" indent="-239713" defTabSz="939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25605" name="McK Slide Elements"/>
          <p:cNvGrpSpPr>
            <a:grpSpLocks/>
          </p:cNvGrpSpPr>
          <p:nvPr/>
        </p:nvGrpSpPr>
        <p:grpSpPr bwMode="auto">
          <a:xfrm>
            <a:off x="120945" y="6342093"/>
            <a:ext cx="8723761" cy="337291"/>
            <a:chOff x="75" y="3916"/>
            <a:chExt cx="5385" cy="208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916"/>
              <a:ext cx="5385" cy="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016" indent="-104016" defTabSz="892419">
                <a:defRPr/>
              </a:pPr>
              <a:r>
                <a:rPr lang="en-US" sz="800" dirty="0"/>
                <a:t>1 Сноска</a:t>
              </a:r>
            </a:p>
          </p:txBody>
        </p:sp>
        <p:sp>
          <p:nvSpPr>
            <p:cNvPr id="2068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48"/>
              <a:ext cx="4323" cy="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marL="777854" indent="-777854" defTabSz="892419">
                <a:tabLst>
                  <a:tab pos="776345" algn="l"/>
                </a:tabLst>
                <a:defRPr/>
              </a:pPr>
              <a:r>
                <a:rPr lang="en-GB" sz="800" dirty="0"/>
                <a:t>ИСТОЧНИК: источник</a:t>
              </a:r>
            </a:p>
          </p:txBody>
        </p:sp>
      </p:grpSp>
      <p:grpSp>
        <p:nvGrpSpPr>
          <p:cNvPr id="25606" name="ACET" hidden="1"/>
          <p:cNvGrpSpPr>
            <a:grpSpLocks/>
          </p:cNvGrpSpPr>
          <p:nvPr/>
        </p:nvGrpSpPr>
        <p:grpSpPr bwMode="auto">
          <a:xfrm>
            <a:off x="1481424" y="1116728"/>
            <a:ext cx="4352054" cy="551360"/>
            <a:chOff x="915" y="689"/>
            <a:chExt cx="2686" cy="341"/>
          </a:xfrm>
        </p:grpSpPr>
        <p:cxnSp>
          <p:nvCxnSpPr>
            <p:cNvPr id="25617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2066" name="AutoShape 250" hidden="1"/>
            <p:cNvSpPr>
              <a:spLocks noChangeArrowheads="1"/>
            </p:cNvSpPr>
            <p:nvPr/>
          </p:nvSpPr>
          <p:spPr bwMode="auto">
            <a:xfrm>
              <a:off x="915" y="689"/>
              <a:ext cx="2686" cy="3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19197" anchor="b">
              <a:spAutoFit/>
            </a:bodyPr>
            <a:lstStyle/>
            <a:p>
              <a:pPr defTabSz="912013">
                <a:defRPr/>
              </a:pPr>
              <a:r>
                <a:rPr lang="en-GB" sz="1700" b="1" dirty="0" err="1"/>
                <a:t>Название</a:t>
              </a:r>
              <a:r>
                <a:rPr lang="en-GB" sz="1700" b="1" dirty="0"/>
                <a:t> </a:t>
              </a:r>
              <a:r>
                <a:rPr lang="en-GB" sz="1700" b="1" dirty="0" err="1"/>
                <a:t>документа</a:t>
              </a:r>
              <a:endParaRPr lang="en-GB" sz="1700" b="1" dirty="0"/>
            </a:p>
            <a:p>
              <a:pPr defTabSz="912013">
                <a:defRPr/>
              </a:pPr>
              <a:r>
                <a:rPr lang="en-GB" sz="17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 hidden="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50745" y="6508838"/>
            <a:ext cx="199540" cy="155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800"/>
            </a:lvl1pPr>
          </a:lstStyle>
          <a:p>
            <a:fld id="{8B31BE05-B0C4-4BE7-B168-B8B2A24D0B80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  <p:sp>
        <p:nvSpPr>
          <p:cNvPr id="2560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857" y="1315798"/>
            <a:ext cx="8273286" cy="5018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grpSp>
        <p:nvGrpSpPr>
          <p:cNvPr id="25609" name="Группа 15"/>
          <p:cNvGrpSpPr>
            <a:grpSpLocks/>
          </p:cNvGrpSpPr>
          <p:nvPr/>
        </p:nvGrpSpPr>
        <p:grpSpPr bwMode="auto">
          <a:xfrm>
            <a:off x="433881" y="6596125"/>
            <a:ext cx="8273286" cy="44440"/>
            <a:chOff x="273050" y="888717"/>
            <a:chExt cx="9400377" cy="36000"/>
          </a:xfrm>
        </p:grpSpPr>
        <p:cxnSp>
          <p:nvCxnSpPr>
            <p:cNvPr id="11" name="Прямая соединительная линия 16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64" name="Прямоугольный треугольник 17"/>
            <p:cNvSpPr>
              <a:spLocks noChangeArrowheads="1"/>
            </p:cNvSpPr>
            <p:nvPr userDrawn="1"/>
          </p:nvSpPr>
          <p:spPr bwMode="auto">
            <a:xfrm flipH="1">
              <a:off x="9603006" y="888717"/>
              <a:ext cx="70421" cy="36000"/>
            </a:xfrm>
            <a:prstGeom prst="rtTriangle">
              <a:avLst/>
            </a:prstGeom>
            <a:solidFill>
              <a:schemeClr val="bg1"/>
            </a:solidFill>
            <a:ln w="381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95985" tIns="47992" rIns="95985" bIns="47992" anchor="ctr"/>
            <a:lstStyle/>
            <a:p>
              <a:pPr algn="ctr" defTabSz="912013">
                <a:defRPr/>
              </a:pPr>
              <a:endParaRPr lang="ru-RU" sz="18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5610" name="Группа 14"/>
          <p:cNvGrpSpPr>
            <a:grpSpLocks/>
          </p:cNvGrpSpPr>
          <p:nvPr/>
        </p:nvGrpSpPr>
        <p:grpSpPr bwMode="auto">
          <a:xfrm>
            <a:off x="435385" y="857111"/>
            <a:ext cx="8273287" cy="42854"/>
            <a:chOff x="273050" y="888717"/>
            <a:chExt cx="9400377" cy="36000"/>
          </a:xfrm>
        </p:grpSpPr>
        <p:cxnSp>
          <p:nvCxnSpPr>
            <p:cNvPr id="8" name="Прямая соединительная линия 12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62" name="Прямоугольный треугольник 13"/>
            <p:cNvSpPr>
              <a:spLocks noChangeArrowheads="1"/>
            </p:cNvSpPr>
            <p:nvPr userDrawn="1"/>
          </p:nvSpPr>
          <p:spPr bwMode="auto">
            <a:xfrm flipH="1">
              <a:off x="9603005" y="888717"/>
              <a:ext cx="70422" cy="36000"/>
            </a:xfrm>
            <a:prstGeom prst="rtTriangle">
              <a:avLst/>
            </a:prstGeom>
            <a:solidFill>
              <a:schemeClr val="bg1"/>
            </a:solidFill>
            <a:ln w="381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95985" tIns="47992" rIns="95985" bIns="47992" anchor="ctr"/>
            <a:lstStyle/>
            <a:p>
              <a:pPr algn="ctr" defTabSz="912013">
                <a:defRPr/>
              </a:pPr>
              <a:endParaRPr lang="ru-RU" sz="18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059" name="Rectangle 348"/>
          <p:cNvSpPr>
            <a:spLocks noChangeArrowheads="1"/>
          </p:cNvSpPr>
          <p:nvPr/>
        </p:nvSpPr>
        <p:spPr bwMode="auto">
          <a:xfrm>
            <a:off x="8865861" y="6537401"/>
            <a:ext cx="198026" cy="155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912013">
              <a:defRPr/>
            </a:pPr>
            <a:fld id="{ECACC90C-1787-44D2-B743-A8DB37A95048}" type="slidenum">
              <a:rPr lang="en-GB" sz="800"/>
              <a:pPr defTabSz="912013">
                <a:defRPr/>
              </a:pPr>
              <a:t>‹#›</a:t>
            </a:fld>
            <a:r>
              <a:rPr lang="en-GB" sz="800" dirty="0"/>
              <a:t> </a:t>
            </a:r>
          </a:p>
        </p:txBody>
      </p:sp>
      <p:pic>
        <p:nvPicPr>
          <p:cNvPr id="25612" name="Picture 338" descr="Сбербанк России. Всегда рядом"/>
          <p:cNvPicPr>
            <a:picLocks noChangeAspect="1" noChangeArrowheads="1"/>
          </p:cNvPicPr>
          <p:nvPr/>
        </p:nvPicPr>
        <p:blipFill>
          <a:blip r:embed="rId13"/>
          <a:srcRect t="11224" r="6099" b="7909"/>
          <a:stretch>
            <a:fillRect/>
          </a:stretch>
        </p:blipFill>
        <p:spPr bwMode="auto">
          <a:xfrm>
            <a:off x="7100253" y="92053"/>
            <a:ext cx="1931895" cy="5031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57717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7" r:id="rId1"/>
    <p:sldLayoutId id="2147484298" r:id="rId2"/>
    <p:sldLayoutId id="2147484299" r:id="rId3"/>
    <p:sldLayoutId id="2147484300" r:id="rId4"/>
    <p:sldLayoutId id="2147484301" r:id="rId5"/>
    <p:sldLayoutId id="2147484302" r:id="rId6"/>
    <p:sldLayoutId id="2147484303" r:id="rId7"/>
    <p:sldLayoutId id="2147484304" r:id="rId8"/>
    <p:sldLayoutId id="2147484305" r:id="rId9"/>
    <p:sldLayoutId id="2147484306" r:id="rId10"/>
    <p:sldLayoutId id="2147484307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24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 b="1">
          <a:solidFill>
            <a:srgbClr val="008000"/>
          </a:solidFill>
          <a:latin typeface="+mj-lt"/>
          <a:ea typeface="+mj-ea"/>
          <a:cs typeface="+mj-cs"/>
        </a:defRPr>
      </a:lvl1pPr>
      <a:lvl2pPr algn="l" defTabSz="8924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008000"/>
          </a:solidFill>
          <a:latin typeface="Arial" charset="0"/>
        </a:defRPr>
      </a:lvl2pPr>
      <a:lvl3pPr algn="l" defTabSz="8924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008000"/>
          </a:solidFill>
          <a:latin typeface="Arial" charset="0"/>
        </a:defRPr>
      </a:lvl3pPr>
      <a:lvl4pPr algn="l" defTabSz="8924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008000"/>
          </a:solidFill>
          <a:latin typeface="Arial" charset="0"/>
        </a:defRPr>
      </a:lvl4pPr>
      <a:lvl5pPr algn="l" defTabSz="892419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008000"/>
          </a:solidFill>
          <a:latin typeface="Arial" charset="0"/>
        </a:defRPr>
      </a:lvl5pPr>
      <a:lvl6pPr marL="434156" algn="l" defTabSz="892419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008000"/>
          </a:solidFill>
          <a:latin typeface="Arial" charset="0"/>
        </a:defRPr>
      </a:lvl6pPr>
      <a:lvl7pPr marL="868307" algn="l" defTabSz="892419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008000"/>
          </a:solidFill>
          <a:latin typeface="Arial" charset="0"/>
        </a:defRPr>
      </a:lvl7pPr>
      <a:lvl8pPr marL="1302458" algn="l" defTabSz="892419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008000"/>
          </a:solidFill>
          <a:latin typeface="Arial" charset="0"/>
        </a:defRPr>
      </a:lvl8pPr>
      <a:lvl9pPr marL="1736613" algn="l" defTabSz="892419" rtl="0" fontAlgn="base">
        <a:lnSpc>
          <a:spcPct val="90000"/>
        </a:lnSpc>
        <a:spcBef>
          <a:spcPct val="0"/>
        </a:spcBef>
        <a:spcAft>
          <a:spcPct val="0"/>
        </a:spcAft>
        <a:defRPr sz="1600">
          <a:solidFill>
            <a:srgbClr val="008000"/>
          </a:solidFill>
          <a:latin typeface="Arial" charset="0"/>
        </a:defRPr>
      </a:lvl9pPr>
    </p:titleStyle>
    <p:bodyStyle>
      <a:lvl1pPr marL="170344" indent="-170344" algn="l" defTabSz="892419" rtl="0" eaLnBrk="0" fontAlgn="base" hangingPunct="0">
        <a:spcBef>
          <a:spcPct val="6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25104" indent="-192957" algn="l" defTabSz="892419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2pPr>
      <a:lvl3pPr marL="589423" indent="-155274" algn="l" defTabSz="892419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3pPr>
      <a:lvl4pPr marL="762778" indent="-155274" algn="l" defTabSz="892419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4pPr>
      <a:lvl5pPr marL="907493" indent="-122100" algn="l" defTabSz="892419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341642" indent="-122100" algn="l" defTabSz="892419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775792" indent="-122100" algn="l" defTabSz="892419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209939" indent="-122100" algn="l" defTabSz="892419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644088" indent="-122100" algn="l" defTabSz="892419" rtl="0" fontAlgn="base">
        <a:spcBef>
          <a:spcPct val="20000"/>
        </a:spcBef>
        <a:spcAft>
          <a:spcPct val="0"/>
        </a:spcAft>
        <a:buClr>
          <a:schemeClr val="tx1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6830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4156" algn="l" defTabSz="86830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68307" algn="l" defTabSz="86830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02458" algn="l" defTabSz="86830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36613" algn="l" defTabSz="86830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70752" algn="l" defTabSz="86830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04900" algn="l" defTabSz="86830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39049" algn="l" defTabSz="86830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73198" algn="l" defTabSz="868307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94028155"/>
              </p:ext>
            </p:extLst>
          </p:nvPr>
        </p:nvGraphicFramePr>
        <p:xfrm>
          <a:off x="1621" y="1621"/>
          <a:ext cx="161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139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482156" y="1990668"/>
            <a:ext cx="4389768" cy="1332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21489" y="497105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  <a:cs typeface="Arial" pitchFamily="34" charset="0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  <a:cs typeface="Arial" pitchFamily="34" charset="0"/>
            </a:endParaRP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488" y="860431"/>
            <a:ext cx="8794114" cy="2665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700" dirty="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82155" y="1117624"/>
            <a:ext cx="4350892" cy="550713"/>
            <a:chOff x="915" y="690"/>
            <a:chExt cx="2686" cy="34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90"/>
              <a:ext cx="2686" cy="34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700" b="1" dirty="0" smtClean="0">
                  <a:latin typeface="Arial" charset="0"/>
                  <a:cs typeface="Arial" pitchFamily="34" charset="0"/>
                </a:rPr>
                <a:t>Title</a:t>
              </a:r>
            </a:p>
            <a:p>
              <a:r>
                <a:rPr lang="ru-RU" sz="1700" dirty="0" smtClean="0">
                  <a:solidFill>
                    <a:srgbClr val="808080"/>
                  </a:solidFill>
                  <a:latin typeface="Arial" charset="0"/>
                  <a:cs typeface="Arial" pitchFamily="34" charset="0"/>
                </a:rPr>
                <a:t>Unit of measure</a:t>
              </a:r>
              <a:endParaRPr lang="ru-RU" sz="1700" dirty="0">
                <a:solidFill>
                  <a:srgbClr val="808080"/>
                </a:solidFill>
                <a:latin typeface="Arial" charset="0"/>
                <a:cs typeface="Arial" pitchFamily="34" charset="0"/>
              </a:endParaRP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8852887" y="6648463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en-US" smtClean="0">
                <a:cs typeface="Arial" pitchFamily="34" charset="0"/>
              </a:rPr>
              <a:pPr algn="ctr"/>
              <a:t>‹#›</a:t>
            </a:fld>
            <a:endParaRPr lang="en-US" dirty="0">
              <a:cs typeface="Arial" pitchFamily="34" charset="0"/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4901" y="169393"/>
            <a:ext cx="1985021" cy="637214"/>
          </a:xfrm>
          <a:prstGeom prst="rect">
            <a:avLst/>
          </a:prstGeom>
        </p:spPr>
      </p:pic>
      <p:sp>
        <p:nvSpPr>
          <p:cNvPr id="13" name="Прямоугольник 18"/>
          <p:cNvSpPr/>
          <p:nvPr/>
        </p:nvSpPr>
        <p:spPr>
          <a:xfrm>
            <a:off x="121489" y="835205"/>
            <a:ext cx="8886445" cy="46648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2" tIns="46646" rIns="93292" bIns="46646" rtlCol="0" anchor="ctr"/>
          <a:lstStyle/>
          <a:p>
            <a:pPr algn="ctr"/>
            <a:endParaRPr lang="ru-RU" sz="1700" dirty="0" err="1" smtClean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8843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0" r:id="rId1"/>
    <p:sldLayoutId id="2147484311" r:id="rId2"/>
    <p:sldLayoutId id="214748431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479" rtl="0" eaLnBrk="1" fontAlgn="base" hangingPunct="1">
        <a:spcBef>
          <a:spcPct val="0"/>
        </a:spcBef>
        <a:spcAft>
          <a:spcPct val="0"/>
        </a:spcAft>
        <a:tabLst>
          <a:tab pos="364421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91347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7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7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7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58" algn="l" defTabSz="91347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15" algn="l" defTabSz="91347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373" algn="l" defTabSz="91347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830" algn="l" defTabSz="91347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7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00">
          <a:solidFill>
            <a:schemeClr val="tx1"/>
          </a:solidFill>
          <a:latin typeface="+mn-lt"/>
          <a:ea typeface="+mn-ea"/>
          <a:cs typeface="+mn-cs"/>
        </a:defRPr>
      </a:lvl1pPr>
      <a:lvl2pPr marL="197596" indent="-195977" algn="l" defTabSz="91347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700">
          <a:solidFill>
            <a:schemeClr val="tx1"/>
          </a:solidFill>
          <a:latin typeface="+mn-lt"/>
        </a:defRPr>
      </a:lvl2pPr>
      <a:lvl3pPr marL="466458" indent="-267242" algn="l" defTabSz="91347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700">
          <a:solidFill>
            <a:schemeClr val="tx1"/>
          </a:solidFill>
          <a:latin typeface="+mn-lt"/>
        </a:defRPr>
      </a:lvl3pPr>
      <a:lvl4pPr marL="626803" indent="-158725" algn="l" defTabSz="91347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700">
          <a:solidFill>
            <a:schemeClr val="tx1"/>
          </a:solidFill>
          <a:latin typeface="+mn-lt"/>
        </a:defRPr>
      </a:lvl4pPr>
      <a:lvl5pPr marL="764990" indent="-132811" algn="l" defTabSz="91347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5pPr>
      <a:lvl6pPr marL="764990" indent="-132811" algn="l" defTabSz="9134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6pPr>
      <a:lvl7pPr marL="764990" indent="-132811" algn="l" defTabSz="9134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7pPr>
      <a:lvl8pPr marL="764990" indent="-132811" algn="l" defTabSz="9134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8pPr>
      <a:lvl9pPr marL="764990" indent="-132811" algn="l" defTabSz="91347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58" algn="l" defTabSz="932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15" algn="l" defTabSz="932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373" algn="l" defTabSz="932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830" algn="l" defTabSz="932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288" algn="l" defTabSz="932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745" algn="l" defTabSz="932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203" algn="l" defTabSz="932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660" algn="l" defTabSz="932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6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hyperlink" Target="&#1055;&#1086;&#1089;&#1090;&#1072;&#1085;&#1086;&#1074;&#1083;&#1077;&#1085;&#1080;&#1077;%20&#1055;&#1088;&#1072;&#1074;&#1080;&#1090;&#1077;&#1083;&#1100;&#1089;&#1090;&#1074;&#1072;%20&#1056;&#1060;%20&#1086;&#1090;%2030.12.2017%20N%201706%20&#1054;&#1073;%20&#1091;&#1090;&#1074;&#1077;&#1088;.rtf" TargetMode="External"/><Relationship Id="rId1" Type="http://schemas.openxmlformats.org/officeDocument/2006/relationships/slideLayout" Target="../slideLayouts/slideLayout6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6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hyperlink" Target="&#1055;&#1086;&#1089;&#1090;&#1072;&#1085;&#1086;&#1074;&#1083;&#1077;&#1085;&#1080;&#1077;%20&#1055;&#1088;&#1072;&#1074;&#1080;&#1090;&#1077;&#1083;&#1100;&#1089;&#1090;&#1074;&#1072;%20&#1056;&#1060;%20&#1086;&#1090;%2030.12.2017%20N%201706%20&#1054;&#1073;%20&#1091;&#1090;&#1074;&#1077;&#1088;.rtf" TargetMode="External"/><Relationship Id="rId1" Type="http://schemas.openxmlformats.org/officeDocument/2006/relationships/slideLayout" Target="../slideLayouts/slideLayout6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&#1055;&#1086;&#1089;&#1090;&#1072;&#1085;&#1086;&#1074;&#1083;&#1077;&#1085;&#1080;&#1077;%20&#1055;&#1088;&#1072;&#1074;&#1080;&#1090;&#1077;&#1083;&#1100;&#1089;&#1090;&#1074;&#1072;%20&#1056;&#1060;%20&#1086;&#1090;%2030.12.2017%20N%201706%20&#1054;&#1073;%20&#1091;&#1090;&#1074;&#1077;&#1088;.rtf" TargetMode="External"/><Relationship Id="rId1" Type="http://schemas.openxmlformats.org/officeDocument/2006/relationships/slideLayout" Target="../slideLayouts/slideLayout6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11560" y="1772817"/>
            <a:ext cx="7920880" cy="1447319"/>
          </a:xfrm>
        </p:spPr>
        <p:txBody>
          <a:bodyPr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Программа субсидирования Минэкономразвития  2018 </a:t>
            </a:r>
            <a:br>
              <a:rPr lang="ru-RU" dirty="0" smtClean="0">
                <a:solidFill>
                  <a:schemeClr val="tx1"/>
                </a:solidFill>
              </a:rPr>
            </a:br>
            <a:r>
              <a:rPr lang="ru-RU" dirty="0" smtClean="0">
                <a:solidFill>
                  <a:schemeClr val="tx1"/>
                </a:solidFill>
              </a:rPr>
              <a:t>для сегмента МСП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419986" y="5224118"/>
            <a:ext cx="1788304" cy="215444"/>
          </a:xfrm>
        </p:spPr>
        <p:txBody>
          <a:bodyPr/>
          <a:lstStyle/>
          <a:p>
            <a:r>
              <a:rPr lang="ru-RU" dirty="0" smtClean="0"/>
              <a:t>Январь 201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27919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323528" y="1124745"/>
            <a:ext cx="8280920" cy="261610"/>
          </a:xfrm>
        </p:spPr>
        <p:txBody>
          <a:bodyPr/>
          <a:lstStyle/>
          <a:p>
            <a:r>
              <a:rPr lang="ru-RU" b="1" dirty="0" smtClean="0">
                <a:solidFill>
                  <a:srgbClr val="00B050"/>
                </a:solidFill>
              </a:rPr>
              <a:t>Условия </a:t>
            </a:r>
            <a:r>
              <a:rPr lang="ru-RU" b="1" dirty="0">
                <a:solidFill>
                  <a:srgbClr val="00B050"/>
                </a:solidFill>
              </a:rPr>
              <a:t>кредитного договора между Банком и Субъектом МСП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121489" y="6614574"/>
            <a:ext cx="8445848" cy="153888"/>
          </a:xfrm>
        </p:spPr>
        <p:txBody>
          <a:bodyPr/>
          <a:lstStyle/>
          <a:p>
            <a:r>
              <a:rPr lang="ru-RU" dirty="0"/>
              <a:t>[1] </a:t>
            </a:r>
            <a:r>
              <a:rPr lang="ru-RU" sz="800" dirty="0"/>
              <a:t>Сегментация в соответствии с Федеральным законом от 24.07.2007 № 209-ФЗ «О развитии малого и среднего предпринимательства в Российской Федерации» (209-ФЗ)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>
          <a:xfrm>
            <a:off x="121489" y="6376152"/>
            <a:ext cx="8445848" cy="153888"/>
          </a:xfrm>
        </p:spPr>
        <p:txBody>
          <a:bodyPr/>
          <a:lstStyle/>
          <a:p>
            <a:r>
              <a:rPr lang="ru-RU" dirty="0" smtClean="0"/>
              <a:t>*</a:t>
            </a:r>
            <a:r>
              <a:rPr lang="ru-RU" sz="800" dirty="0" smtClean="0"/>
              <a:t>при условии полной выборки кредитных средств до 30.11.2018. После указанной даты субсидии не предоставляются на цели пополнение оборотных средств по ВКЛ</a:t>
            </a:r>
            <a:endParaRPr lang="ru-RU" sz="800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грамма МЭР 2018</a:t>
            </a:r>
          </a:p>
        </p:txBody>
      </p:sp>
      <p:pic>
        <p:nvPicPr>
          <p:cNvPr id="839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688" y="1412776"/>
            <a:ext cx="8048625" cy="48965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729663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323528" y="1124745"/>
            <a:ext cx="8280920" cy="261610"/>
          </a:xfrm>
        </p:spPr>
        <p:txBody>
          <a:bodyPr/>
          <a:lstStyle/>
          <a:p>
            <a:r>
              <a:rPr lang="ru-RU" b="1" dirty="0" smtClean="0">
                <a:solidFill>
                  <a:srgbClr val="00B050"/>
                </a:solidFill>
              </a:rPr>
              <a:t>Требования к Субъектам МСП</a:t>
            </a:r>
            <a:endParaRPr lang="ru-RU" b="1" dirty="0">
              <a:solidFill>
                <a:srgbClr val="00B05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179512" y="6686299"/>
            <a:ext cx="8445848" cy="153888"/>
          </a:xfrm>
        </p:spPr>
        <p:txBody>
          <a:bodyPr/>
          <a:lstStyle/>
          <a:p>
            <a:r>
              <a:rPr lang="ru-RU" dirty="0"/>
              <a:t>[1] Реестр размещен в сети Интернет по адресу rmsp.nalog.ru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грамма МЭР 2018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>
          <a:xfrm>
            <a:off x="179512" y="6381328"/>
            <a:ext cx="8445848" cy="153888"/>
          </a:xfrm>
        </p:spPr>
        <p:txBody>
          <a:bodyPr/>
          <a:lstStyle/>
          <a:p>
            <a:r>
              <a:rPr lang="ru-RU" dirty="0" smtClean="0">
                <a:hlinkClick r:id="rId2" action="ppaction://hlinkfile"/>
              </a:rPr>
              <a:t>Постановление Правительства РФ от 30.12.2017 N 1706 Об утвер.rtf</a:t>
            </a:r>
            <a:endParaRPr lang="ru-RU" dirty="0"/>
          </a:p>
        </p:txBody>
      </p:sp>
      <p:pic>
        <p:nvPicPr>
          <p:cNvPr id="829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688" y="1503363"/>
            <a:ext cx="8048625" cy="39418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1453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4"/>
          <p:cNvSpPr>
            <a:spLocks noGrp="1"/>
          </p:cNvSpPr>
          <p:nvPr>
            <p:ph type="title"/>
          </p:nvPr>
        </p:nvSpPr>
        <p:spPr>
          <a:xfrm>
            <a:off x="259254" y="-233862"/>
            <a:ext cx="6916719" cy="877163"/>
          </a:xfrm>
        </p:spPr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Порядок взаимодействий Банка, Минэкономразвития (МЭР), Корпорация МСП</a:t>
            </a:r>
            <a:endParaRPr lang="ru-RU" dirty="0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679972" y="1448780"/>
            <a:ext cx="1505754" cy="50405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МЭР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6228184" y="2445985"/>
            <a:ext cx="1656184" cy="50405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Корпорация МСП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481636" y="3458040"/>
            <a:ext cx="1224136" cy="50405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Банк</a:t>
            </a:r>
          </a:p>
        </p:txBody>
      </p:sp>
      <p:cxnSp>
        <p:nvCxnSpPr>
          <p:cNvPr id="9" name="Прямая со стрелкой 8"/>
          <p:cNvCxnSpPr/>
          <p:nvPr/>
        </p:nvCxnSpPr>
        <p:spPr>
          <a:xfrm flipH="1" flipV="1">
            <a:off x="1187624" y="1952836"/>
            <a:ext cx="2294012" cy="190473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Текст 1"/>
          <p:cNvSpPr txBox="1">
            <a:spLocks/>
          </p:cNvSpPr>
          <p:nvPr/>
        </p:nvSpPr>
        <p:spPr bwMode="auto">
          <a:xfrm>
            <a:off x="356715" y="4365104"/>
            <a:ext cx="8319741" cy="1892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91305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06" indent="-195887" algn="l" defTabSz="91305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6242" indent="-267119" algn="l" defTabSz="91305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514" indent="-158650" algn="l" defTabSz="91305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4637" indent="-132750" algn="l" defTabSz="91305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64637" indent="-132750" algn="l" defTabSz="91305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64637" indent="-132750" algn="l" defTabSz="91305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64637" indent="-132750" algn="l" defTabSz="91305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64637" indent="-132750" algn="l" defTabSz="913058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342900" indent="-342900" algn="just">
              <a:lnSpc>
                <a:spcPct val="150000"/>
              </a:lnSpc>
              <a:buAutoNum type="arabicPeriod"/>
            </a:pPr>
            <a:r>
              <a:rPr lang="ru-RU" sz="1400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анк направляет в МЭР: заявление, реестр, копию КД, выписку ссудного счета.</a:t>
            </a:r>
          </a:p>
          <a:p>
            <a:pPr marL="342900" indent="-342900" algn="just">
              <a:lnSpc>
                <a:spcPct val="150000"/>
              </a:lnSpc>
              <a:buAutoNum type="arabicPeriod"/>
            </a:pPr>
            <a:r>
              <a:rPr lang="ru-RU" sz="1400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ЭР направляет документы Банка в Корпорацию МСП для согласования.</a:t>
            </a:r>
          </a:p>
          <a:p>
            <a:pPr marL="342900" indent="-342900" algn="just">
              <a:lnSpc>
                <a:spcPct val="150000"/>
              </a:lnSpc>
              <a:buAutoNum type="arabicPeriod"/>
            </a:pPr>
            <a:r>
              <a:rPr lang="ru-RU" sz="1400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рпорация МСП направляет в МЭР заключение Корпорации для рассмотрени</a:t>
            </a:r>
            <a:r>
              <a:rPr lang="ru-RU" sz="1400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я</a:t>
            </a:r>
            <a:r>
              <a:rPr lang="ru-RU" sz="1400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комиссии МЭР о предоставлении субсидий.</a:t>
            </a:r>
          </a:p>
          <a:p>
            <a:pPr marL="342900" indent="-342900" algn="just">
              <a:lnSpc>
                <a:spcPct val="150000"/>
              </a:lnSpc>
              <a:buAutoNum type="arabicPeriod"/>
            </a:pPr>
            <a:r>
              <a:rPr lang="ru-RU" sz="1400" kern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ЭР перечисляет субсидии на корсчет Банка, открытый в ЦБ РФ.</a:t>
            </a:r>
          </a:p>
          <a:p>
            <a:pPr algn="just">
              <a:lnSpc>
                <a:spcPct val="150000"/>
              </a:lnSpc>
            </a:pPr>
            <a:endParaRPr lang="ru-RU" sz="1200" kern="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5088936" y="2770021"/>
            <a:ext cx="378042" cy="36004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387848" y="2510898"/>
            <a:ext cx="378042" cy="36004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1</a:t>
            </a:r>
          </a:p>
        </p:txBody>
      </p:sp>
      <p:cxnSp>
        <p:nvCxnSpPr>
          <p:cNvPr id="13" name="Прямая со стрелкой 12"/>
          <p:cNvCxnSpPr/>
          <p:nvPr/>
        </p:nvCxnSpPr>
        <p:spPr>
          <a:xfrm>
            <a:off x="2123728" y="1938316"/>
            <a:ext cx="1357908" cy="1505204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>
            <a:stCxn id="6" idx="0"/>
            <a:endCxn id="5" idx="3"/>
          </p:cNvCxnSpPr>
          <p:nvPr/>
        </p:nvCxnSpPr>
        <p:spPr>
          <a:xfrm flipH="1" flipV="1">
            <a:off x="2185726" y="1700808"/>
            <a:ext cx="4870550" cy="745177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2987824" y="1772816"/>
            <a:ext cx="378042" cy="36004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3</a:t>
            </a: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268518" y="2614342"/>
            <a:ext cx="378042" cy="36004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19" name="Прямая со стрелкой 18"/>
          <p:cNvCxnSpPr/>
          <p:nvPr/>
        </p:nvCxnSpPr>
        <p:spPr>
          <a:xfrm>
            <a:off x="2185726" y="1844824"/>
            <a:ext cx="4042458" cy="666074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3779912" y="2177861"/>
            <a:ext cx="3137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/>
              <a:t>2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1549265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323528" y="980729"/>
            <a:ext cx="8280920" cy="792088"/>
          </a:xfrm>
        </p:spPr>
        <p:txBody>
          <a:bodyPr/>
          <a:lstStyle/>
          <a:p>
            <a:pPr algn="ctr"/>
            <a:r>
              <a:rPr lang="ru-RU" b="1" dirty="0">
                <a:solidFill>
                  <a:srgbClr val="00B050"/>
                </a:solidFill>
              </a:rPr>
              <a:t>Отличия  </a:t>
            </a:r>
          </a:p>
          <a:p>
            <a:pPr algn="ctr"/>
            <a:r>
              <a:rPr lang="ru-RU" b="1" dirty="0">
                <a:solidFill>
                  <a:srgbClr val="00B050"/>
                </a:solidFill>
              </a:rPr>
              <a:t>Программы субсидирования МЭР 2017 и Программы субсидирования МЭР 2018</a:t>
            </a:r>
          </a:p>
          <a:p>
            <a:endParaRPr lang="ru-RU" b="1" dirty="0">
              <a:solidFill>
                <a:srgbClr val="00B050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121489" y="6525345"/>
            <a:ext cx="8445848" cy="332656"/>
          </a:xfrm>
        </p:spPr>
        <p:txBody>
          <a:bodyPr/>
          <a:lstStyle/>
          <a:p>
            <a:r>
              <a:rPr lang="ru-RU" dirty="0"/>
              <a:t>*</a:t>
            </a:r>
            <a:r>
              <a:rPr lang="ru-RU" sz="800" dirty="0" smtClean="0"/>
              <a:t>Кредитный </a:t>
            </a:r>
            <a:r>
              <a:rPr lang="ru-RU" sz="800" dirty="0"/>
              <a:t>договор,  включенными в реестр, в форме электронного документа и выписка по ссудному счету, подтверждающая выдачу кредита, в форме электронного документа</a:t>
            </a:r>
            <a:r>
              <a:rPr lang="ru-RU" dirty="0"/>
              <a:t>		</a:t>
            </a:r>
          </a:p>
          <a:p>
            <a:endParaRPr lang="ru-RU" sz="8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>
          <a:xfrm>
            <a:off x="121489" y="6376152"/>
            <a:ext cx="8445848" cy="276999"/>
          </a:xfrm>
        </p:spPr>
        <p:txBody>
          <a:bodyPr/>
          <a:lstStyle/>
          <a:p>
            <a:r>
              <a:rPr lang="ru-RU" dirty="0"/>
              <a:t>*</a:t>
            </a:r>
            <a:r>
              <a:rPr lang="ru-RU" sz="800" dirty="0"/>
              <a:t>Пакет документов, направляемый в Минэкономразвития дополнен следующими позициями:</a:t>
            </a:r>
          </a:p>
          <a:p>
            <a:endParaRPr lang="ru-RU" sz="800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грамма МЭР 2018</a:t>
            </a:r>
          </a:p>
        </p:txBody>
      </p:sp>
      <p:pic>
        <p:nvPicPr>
          <p:cNvPr id="819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613" y="1844824"/>
            <a:ext cx="7724775" cy="4592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31746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грамма МЭР 2018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755576" y="1340768"/>
            <a:ext cx="6331957" cy="261610"/>
          </a:xfrm>
        </p:spPr>
        <p:txBody>
          <a:bodyPr/>
          <a:lstStyle/>
          <a:p>
            <a:r>
              <a:rPr lang="ru-RU" b="1" dirty="0" smtClean="0">
                <a:solidFill>
                  <a:srgbClr val="00B050"/>
                </a:solidFill>
              </a:rPr>
              <a:t>Дополнительные условия Программы</a:t>
            </a:r>
            <a:endParaRPr lang="ru-RU" b="1" dirty="0">
              <a:solidFill>
                <a:srgbClr val="00B050"/>
              </a:solidFill>
            </a:endParaRPr>
          </a:p>
        </p:txBody>
      </p:sp>
      <p:sp>
        <p:nvSpPr>
          <p:cNvPr id="12" name="Текст 5"/>
          <p:cNvSpPr>
            <a:spLocks noGrp="1"/>
          </p:cNvSpPr>
          <p:nvPr>
            <p:ph type="body" sz="quarter" idx="11"/>
          </p:nvPr>
        </p:nvSpPr>
        <p:spPr>
          <a:xfrm>
            <a:off x="122238" y="6615113"/>
            <a:ext cx="8445500" cy="122237"/>
          </a:xfrm>
        </p:spPr>
        <p:txBody>
          <a:bodyPr/>
          <a:lstStyle/>
          <a:p>
            <a:r>
              <a:rPr lang="ru-RU" dirty="0" smtClean="0">
                <a:hlinkClick r:id="rId2" action="ppaction://hlinkfile"/>
              </a:rPr>
              <a:t>Постановление Правительства РФ от 30.12.2017 N 1706 Об утвер.rtf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808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182" y="2132857"/>
            <a:ext cx="7552704" cy="2160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838907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тветы на вопросы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755576" y="1340768"/>
            <a:ext cx="7488832" cy="4139595"/>
          </a:xfrm>
        </p:spPr>
        <p:txBody>
          <a:bodyPr/>
          <a:lstStyle/>
          <a:p>
            <a:pPr marL="228600" indent="-228600">
              <a:buAutoNum type="arabicPeriod"/>
            </a:pPr>
            <a:r>
              <a:rPr lang="ru-RU" sz="1200" dirty="0" smtClean="0"/>
              <a:t>Возможно выдать кредит </a:t>
            </a:r>
            <a:r>
              <a:rPr lang="ru-RU" sz="1200" dirty="0"/>
              <a:t>как ЮЛ так и ИП? -   </a:t>
            </a:r>
            <a:r>
              <a:rPr lang="ru-RU" sz="12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да</a:t>
            </a:r>
          </a:p>
          <a:p>
            <a:endParaRPr lang="ru-RU" sz="1200" dirty="0" smtClean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lvl="0"/>
            <a:r>
              <a:rPr lang="ru-RU" sz="1200" dirty="0" smtClean="0"/>
              <a:t>2. Какой период действует льготная % ставка - </a:t>
            </a:r>
            <a:r>
              <a:rPr lang="ru-RU" sz="12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Если </a:t>
            </a:r>
            <a:r>
              <a:rPr lang="ru-RU" sz="12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это ВКЛ или овердрафт , то до 30.11.2018г., если кредит или НКЛ , то ставка действует в течение 3-х лет, поскольку в этот период Банк будет получать субсидию. </a:t>
            </a:r>
            <a:r>
              <a:rPr lang="ru-RU" sz="12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Т.е</a:t>
            </a:r>
            <a:r>
              <a:rPr lang="ru-RU" sz="12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. если мы выдаем </a:t>
            </a:r>
            <a:r>
              <a:rPr lang="ru-RU" sz="1200" dirty="0" err="1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инвест</a:t>
            </a:r>
            <a:r>
              <a:rPr lang="ru-RU" sz="12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. </a:t>
            </a:r>
            <a:r>
              <a:rPr lang="ru-RU" sz="12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кредит на 10 лет, то льготная ставка у клиента будет только 3 года. А остальные 7 лет  он будет платить по базовой ставке</a:t>
            </a:r>
            <a:r>
              <a:rPr lang="ru-RU" sz="12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.</a:t>
            </a:r>
          </a:p>
          <a:p>
            <a:pPr lvl="0"/>
            <a:endParaRPr lang="ru-RU" sz="12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r>
              <a:rPr lang="ru-RU" sz="1200" dirty="0" smtClean="0"/>
              <a:t>3. Есть </a:t>
            </a:r>
            <a:r>
              <a:rPr lang="ru-RU" sz="1200" dirty="0"/>
              <a:t>клиент ведет деятельность, кот. входит  в перечень кредитуемых по программе, однако кредит хочет взять на покупку Торгового Центра, помещения которого будет сдавать в </a:t>
            </a:r>
            <a:r>
              <a:rPr lang="ru-RU" sz="1200" dirty="0" smtClean="0"/>
              <a:t>аренду</a:t>
            </a:r>
            <a:r>
              <a:rPr lang="ru-RU" sz="1200" dirty="0"/>
              <a:t> </a:t>
            </a:r>
            <a:r>
              <a:rPr lang="ru-RU" sz="1200" dirty="0" smtClean="0"/>
              <a:t>возможно ли выдать кредит на эту цель? </a:t>
            </a:r>
            <a:r>
              <a:rPr lang="ru-RU" sz="12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На </a:t>
            </a:r>
            <a:r>
              <a:rPr lang="ru-RU" sz="12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покупку недвижимости </a:t>
            </a:r>
            <a:r>
              <a:rPr lang="ru-RU" sz="12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нельзя (так как МЭР не согласовывают такие заявки ) .На </a:t>
            </a:r>
            <a:r>
              <a:rPr lang="ru-RU" sz="12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строительство </a:t>
            </a:r>
            <a:r>
              <a:rPr lang="ru-RU" sz="12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 возможно</a:t>
            </a:r>
            <a:r>
              <a:rPr lang="ru-RU" sz="1200" dirty="0" smtClean="0"/>
              <a:t>.</a:t>
            </a:r>
          </a:p>
          <a:p>
            <a:endParaRPr lang="ru-RU" sz="1200" dirty="0" smtClean="0"/>
          </a:p>
          <a:p>
            <a:r>
              <a:rPr lang="ru-RU" sz="1200" dirty="0" smtClean="0"/>
              <a:t>3. Возможно оформить кредит на приобретение ОС (кроме недвижимости и  доли в объекте недвижимости) для ведения деятельности, которая не входит в перечень приоритетных  </a:t>
            </a:r>
            <a:r>
              <a:rPr lang="ru-RU" sz="12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- возможно. Главное чтобы заемщик на момент выдачи кредита, вел деятельность, относящуюся  к одной из приоритетных областей</a:t>
            </a:r>
          </a:p>
          <a:p>
            <a:endParaRPr lang="ru-RU" sz="1200" dirty="0" smtClean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r>
              <a:rPr lang="ru-RU" sz="1200" dirty="0" smtClean="0"/>
              <a:t>4. Возможно </a:t>
            </a:r>
            <a:r>
              <a:rPr lang="ru-RU" sz="1200" dirty="0" err="1" smtClean="0"/>
              <a:t>прокредитовать</a:t>
            </a:r>
            <a:r>
              <a:rPr lang="ru-RU" sz="1200" dirty="0" smtClean="0"/>
              <a:t> заемщика, у которого есть розничная торговля, которую он ведет как на территории моногорода, так и  в других городах. – </a:t>
            </a:r>
            <a:r>
              <a:rPr lang="ru-RU" sz="12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Возможно, главное что бы более 70% выручки по итогам предыдущего календарного года заемщик получал от розничной торговли, которую ведет на территории моногорода</a:t>
            </a:r>
            <a:r>
              <a:rPr lang="ru-RU" sz="1200" dirty="0" smtClean="0"/>
              <a:t>.</a:t>
            </a:r>
          </a:p>
          <a:p>
            <a:endParaRPr lang="ru-RU" b="1" dirty="0">
              <a:solidFill>
                <a:srgbClr val="00B050"/>
              </a:solidFill>
            </a:endParaRPr>
          </a:p>
        </p:txBody>
      </p:sp>
      <p:sp>
        <p:nvSpPr>
          <p:cNvPr id="12" name="Текст 5"/>
          <p:cNvSpPr>
            <a:spLocks noGrp="1"/>
          </p:cNvSpPr>
          <p:nvPr>
            <p:ph type="body" sz="quarter" idx="11"/>
          </p:nvPr>
        </p:nvSpPr>
        <p:spPr>
          <a:xfrm>
            <a:off x="122238" y="6615113"/>
            <a:ext cx="8445500" cy="122237"/>
          </a:xfrm>
        </p:spPr>
        <p:txBody>
          <a:bodyPr/>
          <a:lstStyle/>
          <a:p>
            <a:r>
              <a:rPr lang="ru-RU" dirty="0" smtClean="0">
                <a:hlinkClick r:id="rId2" action="ppaction://hlinkfile"/>
              </a:rPr>
              <a:t>Постановление Правительства РФ от 30.12.2017 N 1706 Об утвер.rtf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06835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0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2209800"/>
            <a:ext cx="8364537" cy="243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93776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OZ9TgD7UyfBP8ufJbCJ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SUsebRdkyoc32Oqznid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dolnKYiEyCRiCSfECF_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MUcmGVdkeNOoVsbFwSy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bUMj9L70e0.8pNR_lVZ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heme/theme1.xml><?xml version="1.0" encoding="utf-8"?>
<a:theme xmlns:a="http://schemas.openxmlformats.org/drawingml/2006/main" name="36_Firm Format - Russian">
  <a:themeElements>
    <a:clrScheme name="Firm Format - Russian 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EDFE7"/>
      </a:accent1>
      <a:accent2>
        <a:srgbClr val="8CC742"/>
      </a:accent2>
      <a:accent3>
        <a:srgbClr val="FFFFFF"/>
      </a:accent3>
      <a:accent4>
        <a:srgbClr val="000000"/>
      </a:accent4>
      <a:accent5>
        <a:srgbClr val="ECECF1"/>
      </a:accent5>
      <a:accent6>
        <a:srgbClr val="7EB43B"/>
      </a:accent6>
      <a:hlink>
        <a:srgbClr val="FFAE18"/>
      </a:hlink>
      <a:folHlink>
        <a:srgbClr val="049136"/>
      </a:folHlink>
    </a:clrScheme>
    <a:fontScheme name="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49136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sber_present_gedonizm1">
  <a:themeElements>
    <a:clrScheme name="sber_present_gedonizm1 27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sber_present_gedonizm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5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7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8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9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20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21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22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23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24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25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2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7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blank">
  <a:themeElements>
    <a:clrScheme name="1_blank 12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EDFE7"/>
      </a:accent1>
      <a:accent2>
        <a:srgbClr val="8CC742"/>
      </a:accent2>
      <a:accent3>
        <a:srgbClr val="FFFFFF"/>
      </a:accent3>
      <a:accent4>
        <a:srgbClr val="000000"/>
      </a:accent4>
      <a:accent5>
        <a:srgbClr val="ECECF1"/>
      </a:accent5>
      <a:accent6>
        <a:srgbClr val="7EB43B"/>
      </a:accent6>
      <a:hlink>
        <a:srgbClr val="FFAE18"/>
      </a:hlink>
      <a:folHlink>
        <a:srgbClr val="049536"/>
      </a:folHlink>
    </a:clrScheme>
    <a:fontScheme name="1_blank">
      <a:majorFont>
        <a:latin typeface="Tahom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tx1">
              <a:gamma/>
              <a:shade val="60000"/>
              <a:invGamma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tx1">
              <a:gamma/>
              <a:shade val="60000"/>
              <a:invGamma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1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08A5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12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53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irm Format - Russian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Шаблон новый ценности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8_Firm Format - Russian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_Firm Format - Russian">
  <a:themeElements>
    <a:clrScheme name="1_Firm Format - Russian 5">
      <a:dk1>
        <a:srgbClr val="000000"/>
      </a:dk1>
      <a:lt1>
        <a:srgbClr val="FFFFFF"/>
      </a:lt1>
      <a:dk2>
        <a:srgbClr val="FFD893"/>
      </a:dk2>
      <a:lt2>
        <a:srgbClr val="FFAE18"/>
      </a:lt2>
      <a:accent1>
        <a:srgbClr val="049536"/>
      </a:accent1>
      <a:accent2>
        <a:srgbClr val="8CC742"/>
      </a:accent2>
      <a:accent3>
        <a:srgbClr val="FFFFFF"/>
      </a:accent3>
      <a:accent4>
        <a:srgbClr val="000000"/>
      </a:accent4>
      <a:accent5>
        <a:srgbClr val="AAC8AE"/>
      </a:accent5>
      <a:accent6>
        <a:srgbClr val="7EB43B"/>
      </a:accent6>
      <a:hlink>
        <a:srgbClr val="808080"/>
      </a:hlink>
      <a:folHlink>
        <a:srgbClr val="CBCCD7"/>
      </a:folHlink>
    </a:clrScheme>
    <a:fontScheme name="1_Firm Format - Russian">
      <a:majorFont>
        <a:latin typeface="Arial"/>
        <a:ea typeface=""/>
        <a:cs typeface="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53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Firm Format - Russian 5">
        <a:dk1>
          <a:srgbClr val="000000"/>
        </a:dk1>
        <a:lt1>
          <a:srgbClr val="FFFFFF"/>
        </a:lt1>
        <a:dk2>
          <a:srgbClr val="FFD893"/>
        </a:dk2>
        <a:lt2>
          <a:srgbClr val="FFAE18"/>
        </a:lt2>
        <a:accent1>
          <a:srgbClr val="049536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AAC8AE"/>
        </a:accent5>
        <a:accent6>
          <a:srgbClr val="7EB43B"/>
        </a:accent6>
        <a:hlink>
          <a:srgbClr val="808080"/>
        </a:hlink>
        <a:folHlink>
          <a:srgbClr val="CBCCD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7_Firm Format - Russian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8396</TotalTime>
  <Pages>0</Pages>
  <Words>242</Words>
  <Characters>0</Characters>
  <Application>Microsoft Office PowerPoint</Application>
  <PresentationFormat>Экран (4:3)</PresentationFormat>
  <Lines>0</Lines>
  <Paragraphs>41</Paragraphs>
  <Slides>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8</vt:i4>
      </vt:variant>
    </vt:vector>
  </HeadingPairs>
  <TitlesOfParts>
    <vt:vector size="18" baseType="lpstr">
      <vt:lpstr>36_Firm Format - Russian</vt:lpstr>
      <vt:lpstr>sber_present_gedonizm1</vt:lpstr>
      <vt:lpstr>1_blank</vt:lpstr>
      <vt:lpstr>Firm Format - Russian</vt:lpstr>
      <vt:lpstr>1_Шаблон новый ценности</vt:lpstr>
      <vt:lpstr>18_Firm Format - Russian</vt:lpstr>
      <vt:lpstr>1_Firm Format - Russian</vt:lpstr>
      <vt:lpstr>17_Firm Format - Russian</vt:lpstr>
      <vt:lpstr>think-cell Slide</vt:lpstr>
      <vt:lpstr>Фотография Photo Editor</vt:lpstr>
      <vt:lpstr>Программа субсидирования Минэкономразвития  2018  для сегмента МСП</vt:lpstr>
      <vt:lpstr>Программа МЭР 2018</vt:lpstr>
      <vt:lpstr>Программа МЭР 2018</vt:lpstr>
      <vt:lpstr> Порядок взаимодействий Банка, Минэкономразвития (МЭР), Корпорация МСП</vt:lpstr>
      <vt:lpstr>Программа МЭР 2018</vt:lpstr>
      <vt:lpstr>Программа МЭР 2018</vt:lpstr>
      <vt:lpstr>Ответы на вопросы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sverzhinsky</dc:creator>
  <cp:lastModifiedBy>Пермякова Мария Борисовна</cp:lastModifiedBy>
  <cp:revision>2461</cp:revision>
  <cp:lastPrinted>2016-04-26T09:17:05Z</cp:lastPrinted>
  <dcterms:modified xsi:type="dcterms:W3CDTF">2018-03-15T05:07:28Z</dcterms:modified>
</cp:coreProperties>
</file>